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2" r:id="rId2"/>
    <p:sldMasterId id="2147483788" r:id="rId3"/>
    <p:sldMasterId id="2147483814" r:id="rId4"/>
    <p:sldMasterId id="2147483867" r:id="rId5"/>
  </p:sldMasterIdLst>
  <p:notesMasterIdLst>
    <p:notesMasterId r:id="rId10"/>
  </p:notesMasterIdLst>
  <p:handoutMasterIdLst>
    <p:handoutMasterId r:id="rId11"/>
  </p:handoutMasterIdLst>
  <p:sldIdLst>
    <p:sldId id="259" r:id="rId6"/>
    <p:sldId id="401" r:id="rId7"/>
    <p:sldId id="405" r:id="rId8"/>
    <p:sldId id="407" r:id="rId9"/>
  </p:sldIdLst>
  <p:sldSz cx="12192000" cy="6858000"/>
  <p:notesSz cx="6797675" cy="9928225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CorpoS" pitchFamily="2" charset="0"/>
      <p:regular r:id="rId16"/>
      <p:bold r:id="rId17"/>
      <p:italic r:id="rId18"/>
      <p:boldItalic r:id="rId19"/>
    </p:embeddedFont>
    <p:embeddedFont>
      <p:font typeface="Webdings" panose="05030102010509060703" pitchFamily="18" charset="2"/>
      <p:regular r:id="rId20"/>
    </p:embeddedFont>
    <p:embeddedFont>
      <p:font typeface="CorpoA" pitchFamily="2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ercedes-Benz Mastervorlage" id="{DC7E59F3-1751-4F5A-94D2-FE5E27FE97B1}">
          <p14:sldIdLst>
            <p14:sldId id="259"/>
            <p14:sldId id="401"/>
            <p14:sldId id="405"/>
            <p14:sldId id="407"/>
          </p14:sldIdLst>
        </p14:section>
        <p14:section name="Bibliotheken" id="{2A5F3592-C811-4774-843D-2E0D4612952B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952" userDrawn="1">
          <p15:clr>
            <a:srgbClr val="A4A3A4"/>
          </p15:clr>
        </p15:guide>
        <p15:guide id="2" orient="horz" pos="210" userDrawn="1">
          <p15:clr>
            <a:srgbClr val="A4A3A4"/>
          </p15:clr>
        </p15:guide>
        <p15:guide id="3" orient="horz" pos="4048" userDrawn="1">
          <p15:clr>
            <a:srgbClr val="A4A3A4"/>
          </p15:clr>
        </p15:guide>
        <p15:guide id="4" orient="horz" pos="468" userDrawn="1">
          <p15:clr>
            <a:srgbClr val="A4A3A4"/>
          </p15:clr>
        </p15:guide>
        <p15:guide id="5" pos="7430" userDrawn="1">
          <p15:clr>
            <a:srgbClr val="A4A3A4"/>
          </p15:clr>
        </p15:guide>
        <p15:guide id="6" pos="249" userDrawn="1">
          <p15:clr>
            <a:srgbClr val="A4A3A4"/>
          </p15:clr>
        </p15:guide>
        <p15:guide id="7" orient="horz" pos="238">
          <p15:clr>
            <a:srgbClr val="A4A3A4"/>
          </p15:clr>
        </p15:guide>
        <p15:guide id="8" orient="horz" pos="4065">
          <p15:clr>
            <a:srgbClr val="A4A3A4"/>
          </p15:clr>
        </p15:guide>
        <p15:guide id="9" orient="horz" pos="467">
          <p15:clr>
            <a:srgbClr val="A4A3A4"/>
          </p15:clr>
        </p15:guide>
        <p15:guide id="10" orient="horz" pos="958">
          <p15:clr>
            <a:srgbClr val="A4A3A4"/>
          </p15:clr>
        </p15:guide>
        <p15:guide id="11" pos="7436">
          <p15:clr>
            <a:srgbClr val="A4A3A4"/>
          </p15:clr>
        </p15:guide>
        <p15:guide id="12" pos="2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709">
          <p15:clr>
            <a:srgbClr val="A4A3A4"/>
          </p15:clr>
        </p15:guide>
        <p15:guide id="2" orient="horz" pos="5051">
          <p15:clr>
            <a:srgbClr val="A4A3A4"/>
          </p15:clr>
        </p15:guide>
        <p15:guide id="3" pos="4020">
          <p15:clr>
            <a:srgbClr val="A4A3A4"/>
          </p15:clr>
        </p15:guide>
        <p15:guide id="4" pos="300">
          <p15:clr>
            <a:srgbClr val="A4A3A4"/>
          </p15:clr>
        </p15:guide>
        <p15:guide id="5" orient="horz" pos="770">
          <p15:clr>
            <a:srgbClr val="A4A3A4"/>
          </p15:clr>
        </p15:guide>
        <p15:guide id="6" orient="horz" pos="5484">
          <p15:clr>
            <a:srgbClr val="A4A3A4"/>
          </p15:clr>
        </p15:guide>
        <p15:guide id="7" pos="3984">
          <p15:clr>
            <a:srgbClr val="A4A3A4"/>
          </p15:clr>
        </p15:guide>
        <p15:guide id="8" pos="29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9AC9"/>
    <a:srgbClr val="8BC2DE"/>
    <a:srgbClr val="666633"/>
    <a:srgbClr val="006666"/>
    <a:srgbClr val="FFD1D1"/>
    <a:srgbClr val="F6F8E0"/>
    <a:srgbClr val="6593AA"/>
    <a:srgbClr val="080808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20" autoAdjust="0"/>
  </p:normalViewPr>
  <p:slideViewPr>
    <p:cSldViewPr snapToObjects="1" showGuides="1">
      <p:cViewPr varScale="1">
        <p:scale>
          <a:sx n="89" d="100"/>
          <a:sy n="89" d="100"/>
        </p:scale>
        <p:origin x="466" y="82"/>
      </p:cViewPr>
      <p:guideLst>
        <p:guide orient="horz" pos="952"/>
        <p:guide orient="horz" pos="210"/>
        <p:guide orient="horz" pos="4048"/>
        <p:guide orient="horz" pos="468"/>
        <p:guide pos="7430"/>
        <p:guide pos="249"/>
        <p:guide orient="horz" pos="238"/>
        <p:guide orient="horz" pos="4065"/>
        <p:guide orient="horz" pos="467"/>
        <p:guide orient="horz" pos="958"/>
        <p:guide pos="7436"/>
        <p:guide pos="252"/>
      </p:guideLst>
    </p:cSldViewPr>
  </p:slideViewPr>
  <p:outlineViewPr>
    <p:cViewPr>
      <p:scale>
        <a:sx n="33" d="100"/>
        <a:sy n="33" d="100"/>
      </p:scale>
      <p:origin x="0" y="1287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-3414" y="-156"/>
      </p:cViewPr>
      <p:guideLst>
        <p:guide orient="horz" pos="709"/>
        <p:guide orient="horz" pos="5051"/>
        <p:guide pos="4020"/>
        <p:guide pos="300"/>
        <p:guide orient="horz" pos="770"/>
        <p:guide orient="horz" pos="5484"/>
        <p:guide pos="3984"/>
        <p:guide pos="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10.fntdata"/><Relationship Id="rId7" Type="http://schemas.openxmlformats.org/officeDocument/2006/relationships/slide" Target="slides/slide2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24" Type="http://schemas.openxmlformats.org/officeDocument/2006/relationships/font" Target="fonts/font13.fntdata"/><Relationship Id="rId5" Type="http://schemas.openxmlformats.org/officeDocument/2006/relationships/slideMaster" Target="slideMasters/slideMaster5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/>
              <a:pPr lvl="0" algn="l"/>
              <a:t>‹Nr.›</a:t>
            </a:fld>
            <a:endParaRPr lang="en-US" sz="900" dirty="0"/>
          </a:p>
        </p:txBody>
      </p:sp>
      <p:pic>
        <p:nvPicPr>
          <p:cNvPr id="6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518" y="9665867"/>
            <a:ext cx="1177550" cy="148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6076" y="744538"/>
            <a:ext cx="6045525" cy="340133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endParaRPr lang="de-DE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6476526" y="9595981"/>
            <a:ext cx="321150" cy="3322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 smtClean="0"/>
              <a:pPr lvl="0" algn="l"/>
              <a:t>‹Nr.›</a:t>
            </a:fld>
            <a:endParaRPr lang="en-US" sz="900" dirty="0"/>
          </a:p>
        </p:txBody>
      </p:sp>
      <p:sp>
        <p:nvSpPr>
          <p:cNvPr id="10" name="Notizenplatzhalter 1"/>
          <p:cNvSpPr>
            <a:spLocks noGrp="1"/>
          </p:cNvSpPr>
          <p:nvPr>
            <p:ph type="body" sz="quarter" idx="3"/>
          </p:nvPr>
        </p:nvSpPr>
        <p:spPr>
          <a:xfrm>
            <a:off x="376076" y="4715907"/>
            <a:ext cx="6045525" cy="446770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 in </a:t>
            </a:r>
            <a:r>
              <a:rPr lang="de-DE" noProof="0" dirty="0" err="1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pic>
        <p:nvPicPr>
          <p:cNvPr id="11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518" y="9665867"/>
            <a:ext cx="1177550" cy="148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27968A0-2773-4E6D-A3EA-5EE59DBB9DEC}" type="slidenum">
              <a:rPr lang="en-US" sz="900" smtClean="0">
                <a:solidFill>
                  <a:prstClr val="black"/>
                </a:solidFill>
              </a:rPr>
              <a:pPr algn="l"/>
              <a:t>2</a:t>
            </a:fld>
            <a:endParaRPr lang="en-US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016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27968A0-2773-4E6D-A3EA-5EE59DBB9DEC}" type="slidenum">
              <a:rPr lang="en-US" sz="900" smtClean="0">
                <a:solidFill>
                  <a:prstClr val="black"/>
                </a:solidFill>
              </a:rPr>
              <a:pPr algn="l"/>
              <a:t>3</a:t>
            </a:fld>
            <a:endParaRPr lang="en-US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447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20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27968A0-2773-4E6D-A3EA-5EE59DBB9DEC}" type="slidenum">
              <a:rPr lang="en-US" sz="900" smtClean="0">
                <a:solidFill>
                  <a:prstClr val="black"/>
                </a:solidFill>
              </a:rPr>
              <a:pPr algn="l"/>
              <a:t>4</a:t>
            </a:fld>
            <a:endParaRPr lang="en-US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218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555675"/>
            <a:ext cx="13875807" cy="7893048"/>
            <a:chOff x="-2088000" y="-555675"/>
            <a:chExt cx="13875807" cy="7893048"/>
          </a:xfrm>
        </p:grpSpPr>
        <p:grpSp>
          <p:nvGrpSpPr>
            <p:cNvPr id="2" name="Gruppieren 1"/>
            <p:cNvGrpSpPr/>
            <p:nvPr userDrawn="1"/>
          </p:nvGrpSpPr>
          <p:grpSpPr>
            <a:xfrm>
              <a:off x="-2088000" y="-468001"/>
              <a:ext cx="13875807" cy="7805374"/>
              <a:chOff x="-2088000" y="-468001"/>
              <a:chExt cx="13875807" cy="7805374"/>
            </a:xfrm>
          </p:grpSpPr>
          <p:sp>
            <p:nvSpPr>
              <p:cNvPr id="11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bringen über Menü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0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0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sp>
            <p:nvSpPr>
              <p:cNvPr id="12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zwischen weißem und schwarzem Folienlayout über Menü: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Entwurf // Design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(Rechtsklick: </a:t>
                </a:r>
                <a:r>
                  <a:rPr lang="de-DE" sz="1000" b="0" i="1" baseline="0" noProof="0" dirty="0" smtClean="0">
                    <a:solidFill>
                      <a:schemeClr val="accent5"/>
                    </a:solidFill>
                    <a:latin typeface="+mn-lt"/>
                  </a:rPr>
                  <a:t>Für alle Folien </a:t>
                </a: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oder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i="1" baseline="0" noProof="0" dirty="0" smtClean="0">
                    <a:solidFill>
                      <a:schemeClr val="accent5"/>
                    </a:solidFill>
                    <a:latin typeface="+mn-lt"/>
                  </a:rPr>
                  <a:t>Für ausgewählte Folien </a:t>
                </a: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übernehmen)</a:t>
                </a:r>
              </a:p>
            </p:txBody>
          </p:sp>
          <p:pic>
            <p:nvPicPr>
              <p:cNvPr id="14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5" name="Hilfslinien"/>
              <p:cNvSpPr txBox="1"/>
              <p:nvPr userDrawn="1"/>
            </p:nvSpPr>
            <p:spPr>
              <a:xfrm rot="10800000" flipH="1" flipV="1">
                <a:off x="432775" y="-468001"/>
                <a:ext cx="509033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Hilfslinien anzeigen über Menü: Ansicht // Anzeigen // Haken bei Führungslinien setzen</a:t>
                </a:r>
              </a:p>
            </p:txBody>
          </p:sp>
          <p:sp>
            <p:nvSpPr>
              <p:cNvPr id="26" name="Hilfslinien"/>
              <p:cNvSpPr txBox="1"/>
              <p:nvPr userDrawn="1"/>
            </p:nvSpPr>
            <p:spPr>
              <a:xfrm rot="10800000" flipH="1" flipV="1">
                <a:off x="7107287" y="-468000"/>
                <a:ext cx="4680520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servierte Bereiche für Stempel oder Icons</a:t>
                </a:r>
              </a:p>
            </p:txBody>
          </p:sp>
          <p:sp>
            <p:nvSpPr>
              <p:cNvPr id="28" name="Fußzeile"/>
              <p:cNvSpPr txBox="1"/>
              <p:nvPr userDrawn="1"/>
            </p:nvSpPr>
            <p:spPr>
              <a:xfrm rot="10800000" flipH="1" flipV="1">
                <a:off x="432775" y="6977373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Fußzeile pro Folie oder für alle/mehrere anpassen über Menü: Einfügen // Text // Kopf- und Fußzeile</a:t>
                </a:r>
              </a:p>
            </p:txBody>
          </p:sp>
        </p:grpSp>
        <p:pic>
          <p:nvPicPr>
            <p:cNvPr id="29" name="Picture 3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7026" y="-555675"/>
              <a:ext cx="1428750" cy="895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262206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991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noProof="0" dirty="0" smtClean="0"/>
              <a:t>Optionale Headline einzeilig in CorpoA (Überschriften) 30 pt. </a:t>
            </a:r>
            <a:endParaRPr lang="de-DE" noProof="0" dirty="0"/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96288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555675"/>
            <a:ext cx="13875807" cy="7893048"/>
            <a:chOff x="-2088000" y="-555675"/>
            <a:chExt cx="13875807" cy="7893048"/>
          </a:xfrm>
        </p:grpSpPr>
        <p:grpSp>
          <p:nvGrpSpPr>
            <p:cNvPr id="2" name="Gruppieren 1"/>
            <p:cNvGrpSpPr/>
            <p:nvPr userDrawn="1"/>
          </p:nvGrpSpPr>
          <p:grpSpPr>
            <a:xfrm>
              <a:off x="-2088000" y="-468001"/>
              <a:ext cx="13875807" cy="7805374"/>
              <a:chOff x="-2088000" y="-468001"/>
              <a:chExt cx="13875807" cy="7805374"/>
            </a:xfrm>
          </p:grpSpPr>
          <p:sp>
            <p:nvSpPr>
              <p:cNvPr id="11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Folie in Ursprungsform </a:t>
                </a:r>
              </a:p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bringen über Menü:</a:t>
                </a:r>
              </a:p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Start // Folien // Zurücksetzen</a:t>
                </a:r>
              </a:p>
              <a:p>
                <a:pPr algn="r"/>
                <a:endParaRPr lang="de-DE" sz="1000" dirty="0" smtClean="0">
                  <a:solidFill>
                    <a:srgbClr val="444444"/>
                  </a:solidFill>
                </a:endParaRPr>
              </a:p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Wechsel des Folienlayouts </a:t>
                </a:r>
                <a:br>
                  <a:rPr lang="de-DE" sz="1000" dirty="0" smtClean="0">
                    <a:solidFill>
                      <a:srgbClr val="444444"/>
                    </a:solidFill>
                  </a:rPr>
                </a:br>
                <a:r>
                  <a:rPr lang="de-DE" sz="1000" dirty="0" smtClean="0">
                    <a:solidFill>
                      <a:srgbClr val="444444"/>
                    </a:solidFill>
                  </a:rPr>
                  <a:t>im Menü über:</a:t>
                </a:r>
              </a:p>
              <a:p>
                <a:pPr algn="r" defTabSz="914271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Start // Folien // Layout</a:t>
                </a:r>
              </a:p>
              <a:p>
                <a:pPr algn="r" defTabSz="914271">
                  <a:defRPr/>
                </a:pPr>
                <a:endParaRPr lang="de-DE" sz="1000" dirty="0" smtClean="0">
                  <a:solidFill>
                    <a:srgbClr val="444444"/>
                  </a:solidFill>
                </a:endParaRPr>
              </a:p>
              <a:p>
                <a:pPr algn="r" defTabSz="914271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Wechsel der Textebene</a:t>
                </a:r>
              </a:p>
              <a:p>
                <a:pPr algn="r" defTabSz="914271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im Menü über: </a:t>
                </a:r>
                <a:br>
                  <a:rPr lang="de-DE" sz="1000" dirty="0" smtClean="0">
                    <a:solidFill>
                      <a:srgbClr val="444444"/>
                    </a:solidFill>
                  </a:rPr>
                </a:br>
                <a:r>
                  <a:rPr lang="de-DE" sz="1000" dirty="0" smtClean="0">
                    <a:solidFill>
                      <a:srgbClr val="444444"/>
                    </a:solidFill>
                  </a:rPr>
                  <a:t>Start // Absatz // Listenebene erhöhen/verringern</a:t>
                </a:r>
              </a:p>
            </p:txBody>
          </p:sp>
          <p:sp>
            <p:nvSpPr>
              <p:cNvPr id="12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Wechsel zwischen weißem und schwarzem Folienlayout über Menü: </a:t>
                </a:r>
                <a:br>
                  <a:rPr lang="de-DE" sz="1000" dirty="0" smtClean="0">
                    <a:solidFill>
                      <a:srgbClr val="444444"/>
                    </a:solidFill>
                  </a:rPr>
                </a:br>
                <a:r>
                  <a:rPr lang="de-DE" sz="1000" dirty="0" smtClean="0">
                    <a:solidFill>
                      <a:srgbClr val="444444"/>
                    </a:solidFill>
                  </a:rPr>
                  <a:t>Entwurf // Designs</a:t>
                </a:r>
              </a:p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(Rechtsklick: </a:t>
                </a:r>
                <a:r>
                  <a:rPr lang="de-DE" sz="1000" i="1" dirty="0" smtClean="0">
                    <a:solidFill>
                      <a:srgbClr val="444444"/>
                    </a:solidFill>
                  </a:rPr>
                  <a:t>Für alle Folien </a:t>
                </a:r>
                <a:r>
                  <a:rPr lang="de-DE" sz="1000" dirty="0" smtClean="0">
                    <a:solidFill>
                      <a:srgbClr val="444444"/>
                    </a:solidFill>
                  </a:rPr>
                  <a:t>oder </a:t>
                </a:r>
                <a:br>
                  <a:rPr lang="de-DE" sz="1000" dirty="0" smtClean="0">
                    <a:solidFill>
                      <a:srgbClr val="444444"/>
                    </a:solidFill>
                  </a:rPr>
                </a:br>
                <a:r>
                  <a:rPr lang="de-DE" sz="1000" i="1" dirty="0" smtClean="0">
                    <a:solidFill>
                      <a:srgbClr val="444444"/>
                    </a:solidFill>
                  </a:rPr>
                  <a:t>Für ausgewählte Folien </a:t>
                </a:r>
                <a:r>
                  <a:rPr lang="de-DE" sz="1000" dirty="0" smtClean="0">
                    <a:solidFill>
                      <a:srgbClr val="444444"/>
                    </a:solidFill>
                  </a:rPr>
                  <a:t>übernehmen)</a:t>
                </a:r>
              </a:p>
            </p:txBody>
          </p:sp>
          <p:pic>
            <p:nvPicPr>
              <p:cNvPr id="14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Listenebene</a:t>
                </a:r>
              </a:p>
              <a:p>
                <a:pPr algn="r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erhöhen</a:t>
                </a:r>
              </a:p>
            </p:txBody>
          </p:sp>
          <p:sp>
            <p:nvSpPr>
              <p:cNvPr id="23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Listenebene</a:t>
                </a:r>
              </a:p>
              <a:p>
                <a:pPr algn="r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verringern</a:t>
                </a:r>
              </a:p>
            </p:txBody>
          </p:sp>
          <p:sp>
            <p:nvSpPr>
              <p:cNvPr id="25" name="Hilfslinien"/>
              <p:cNvSpPr txBox="1"/>
              <p:nvPr userDrawn="1"/>
            </p:nvSpPr>
            <p:spPr>
              <a:xfrm rot="10800000" flipH="1" flipV="1">
                <a:off x="432775" y="-468001"/>
                <a:ext cx="509033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42909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Hilfslinien anzeigen über Menü: Ansicht // Anzeigen // Haken bei Führungslinien setzen</a:t>
                </a:r>
              </a:p>
            </p:txBody>
          </p:sp>
          <p:sp>
            <p:nvSpPr>
              <p:cNvPr id="26" name="Hilfslinien"/>
              <p:cNvSpPr txBox="1"/>
              <p:nvPr userDrawn="1"/>
            </p:nvSpPr>
            <p:spPr>
              <a:xfrm rot="10800000" flipH="1" flipV="1">
                <a:off x="7107287" y="-468000"/>
                <a:ext cx="4680520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42909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Reservierte Bereiche für Stempel oder Icons</a:t>
                </a:r>
              </a:p>
            </p:txBody>
          </p:sp>
          <p:sp>
            <p:nvSpPr>
              <p:cNvPr id="28" name="Fußzeile"/>
              <p:cNvSpPr txBox="1"/>
              <p:nvPr userDrawn="1"/>
            </p:nvSpPr>
            <p:spPr>
              <a:xfrm rot="10800000" flipH="1" flipV="1">
                <a:off x="432775" y="6977373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1042909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Fußzeile pro Folie oder für alle/mehrere anpassen über Menü: Einfügen // Text // Kopf- und Fußzeile</a:t>
                </a:r>
              </a:p>
            </p:txBody>
          </p:sp>
        </p:grpSp>
        <p:pic>
          <p:nvPicPr>
            <p:cNvPr id="29" name="Picture 3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7026" y="-555675"/>
              <a:ext cx="1428750" cy="895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750912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 smtClean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674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614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n weiße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991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Inhalts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996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Tabelle einfügen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 smtClean="0"/>
              <a:t>Tabellenüberschrift in CorpoS (Textkörper) in 20 pt. bold einfügen</a:t>
            </a:r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abellen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0071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624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62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921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0002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500" dirty="0" smtClean="0">
                    <a:solidFill>
                      <a:srgbClr val="444444"/>
                    </a:solidFill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dirty="0" smtClean="0">
                    <a:solidFill>
                      <a:srgbClr val="444444"/>
                    </a:solidFill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rgbClr val="444444"/>
                    </a:solidFill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rgbClr val="444444"/>
                  </a:solidFill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ausschnitt verändern über Menü: Bildtools // Format // Größe // Zuschneid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 kann innerhalb der schwarzen Begrenzungen bei gedrückter alt-Taste bewegt werden.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größe zuschneiden über Menü: Bildtools // Format // Größe // Zuschneid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 bei gedrückter Umschalt-Taste über die hellen Eckpunkte auf die passende Größe ziehen. 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größe einpassen über Menü: Bildtools // Format // Größe // Zuschneiden // Einpass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</p:txBody>
        </p:sp>
      </p:grp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021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902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05" y="20981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05" y="33452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176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05" y="45923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487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435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8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966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093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773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555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379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smtClean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139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05" y="20981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05" y="33452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176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05" y="45923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4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3003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smtClean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77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956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86681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62604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206363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6045725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2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8616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3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62449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4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20532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29500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0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Headline zweizeilig in CorpoA (Überschriften) 30 pt. </a:t>
            </a:r>
            <a:endParaRPr lang="de-DE" noProof="0" dirty="0"/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5"/>
            <a:r>
              <a:rPr lang="de-DE" noProof="0" dirty="0" smtClean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896826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2053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07020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noProof="0" dirty="0" smtClean="0"/>
              <a:t>Optionale Headline einzeilig in CorpoA (Überschriften) 30 pt. </a:t>
            </a:r>
            <a:endParaRPr lang="de-DE" noProof="0" dirty="0"/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96145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760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8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8459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4933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45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8498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862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7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6090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28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 smtClean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6793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77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5773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86681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62604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206363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6045725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2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8616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3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62449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4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20532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49148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0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Headline zweizeilig in CorpoA (Überschriften) 30 pt. </a:t>
            </a:r>
            <a:endParaRPr lang="de-DE" noProof="0" dirty="0"/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5"/>
            <a:r>
              <a:rPr lang="de-DE" noProof="0" dirty="0" smtClean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59603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47237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0171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noProof="0" dirty="0" smtClean="0"/>
              <a:t>Optionale Headline einzeilig in CorpoA (Überschriften) 30 pt. </a:t>
            </a:r>
            <a:endParaRPr lang="de-DE" noProof="0" dirty="0"/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47572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/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555675"/>
            <a:ext cx="13875807" cy="7893048"/>
            <a:chOff x="-2088000" y="-555675"/>
            <a:chExt cx="13875807" cy="7893048"/>
          </a:xfrm>
        </p:grpSpPr>
        <p:grpSp>
          <p:nvGrpSpPr>
            <p:cNvPr id="28" name="Gruppieren 27"/>
            <p:cNvGrpSpPr/>
            <p:nvPr userDrawn="1"/>
          </p:nvGrpSpPr>
          <p:grpSpPr>
            <a:xfrm>
              <a:off x="-2088000" y="-468001"/>
              <a:ext cx="13875807" cy="7805374"/>
              <a:chOff x="-2088000" y="-468001"/>
              <a:chExt cx="13875807" cy="7805374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bringen über Menü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0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0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sp>
            <p:nvSpPr>
              <p:cNvPr id="30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zwischen weißem und schwarzem Folienlayout über Menü: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Entwurf // Design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(Rechtsklick: </a:t>
                </a:r>
                <a:r>
                  <a:rPr lang="de-DE" sz="1000" b="0" i="1" baseline="0" noProof="0" dirty="0" smtClean="0">
                    <a:solidFill>
                      <a:schemeClr val="accent5"/>
                    </a:solidFill>
                    <a:latin typeface="+mn-lt"/>
                  </a:rPr>
                  <a:t>Für alle Folien </a:t>
                </a: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oder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i="1" baseline="0" noProof="0" dirty="0" smtClean="0">
                    <a:solidFill>
                      <a:schemeClr val="accent5"/>
                    </a:solidFill>
                    <a:latin typeface="+mn-lt"/>
                  </a:rPr>
                  <a:t>Für ausgewählte Folien </a:t>
                </a: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übernehmen)</a:t>
                </a:r>
              </a:p>
            </p:txBody>
          </p:sp>
          <p:pic>
            <p:nvPicPr>
              <p:cNvPr id="31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6" name="Hilfslinien"/>
              <p:cNvSpPr txBox="1"/>
              <p:nvPr userDrawn="1"/>
            </p:nvSpPr>
            <p:spPr>
              <a:xfrm rot="10800000" flipH="1" flipV="1">
                <a:off x="432775" y="-468001"/>
                <a:ext cx="509033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Hilfslinien anzeigen über Menü: Ansicht // Anzeigen // Haken bei Führungslinien setzen</a:t>
                </a:r>
              </a:p>
            </p:txBody>
          </p:sp>
          <p:sp>
            <p:nvSpPr>
              <p:cNvPr id="37" name="Hilfslinien"/>
              <p:cNvSpPr txBox="1"/>
              <p:nvPr userDrawn="1"/>
            </p:nvSpPr>
            <p:spPr>
              <a:xfrm rot="10800000" flipH="1" flipV="1">
                <a:off x="7107287" y="-468000"/>
                <a:ext cx="4680520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servierte Bereiche für Stempel oder Icons</a:t>
                </a:r>
              </a:p>
            </p:txBody>
          </p:sp>
          <p:sp>
            <p:nvSpPr>
              <p:cNvPr id="38" name="Fußzeile"/>
              <p:cNvSpPr txBox="1"/>
              <p:nvPr userDrawn="1"/>
            </p:nvSpPr>
            <p:spPr>
              <a:xfrm rot="10800000" flipH="1" flipV="1">
                <a:off x="432775" y="6977373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Fußzeile pro Folie oder für alle/mehrere anpassen über Menü: Einfügen // Text // Kopf- und Fußzeile</a:t>
                </a:r>
              </a:p>
            </p:txBody>
          </p:sp>
        </p:grpSp>
        <p:pic>
          <p:nvPicPr>
            <p:cNvPr id="24" name="Picture 3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7026" y="-555675"/>
              <a:ext cx="1428750" cy="895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87796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 smtClean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224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3214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6357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9985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Inhalts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2449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Tabelle einfügen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 smtClean="0"/>
              <a:t>Tabellenüberschrift in CorpoS (Textkörper) in 20 pt. bold einfügen</a:t>
            </a:r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abellen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04298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5609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7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4172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0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32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5558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2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0451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943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607" y="52526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9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7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2000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867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734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2000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734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867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2000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734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867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cxnSp>
        <p:nvCxnSpPr>
          <p:cNvPr id="108" name="Gerade Verbindung 53"/>
          <p:cNvCxnSpPr>
            <a:stCxn id="104" idx="3"/>
            <a:endCxn id="88" idx="1"/>
          </p:cNvCxnSpPr>
          <p:nvPr userDrawn="1"/>
        </p:nvCxnSpPr>
        <p:spPr bwMode="auto">
          <a:xfrm>
            <a:off x="3996005" y="2098800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54"/>
          <p:cNvCxnSpPr>
            <a:stCxn id="106" idx="3"/>
            <a:endCxn id="89" idx="1"/>
          </p:cNvCxnSpPr>
          <p:nvPr userDrawn="1"/>
        </p:nvCxnSpPr>
        <p:spPr bwMode="auto">
          <a:xfrm>
            <a:off x="3996005" y="3345667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5"/>
          <p:cNvCxnSpPr>
            <a:stCxn id="100" idx="1"/>
            <a:endCxn id="67" idx="3"/>
          </p:cNvCxnSpPr>
          <p:nvPr userDrawn="1"/>
        </p:nvCxnSpPr>
        <p:spPr bwMode="auto"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6"/>
          <p:cNvCxnSpPr>
            <a:stCxn id="66" idx="3"/>
            <a:endCxn id="102" idx="1"/>
          </p:cNvCxnSpPr>
          <p:nvPr userDrawn="1"/>
        </p:nvCxnSpPr>
        <p:spPr bwMode="auto"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7"/>
          <p:cNvCxnSpPr>
            <a:stCxn id="68" idx="3"/>
            <a:endCxn id="101" idx="1"/>
          </p:cNvCxnSpPr>
          <p:nvPr userDrawn="1"/>
        </p:nvCxnSpPr>
        <p:spPr bwMode="auto"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8"/>
          <p:cNvCxnSpPr>
            <a:stCxn id="65" idx="3"/>
            <a:endCxn id="103" idx="1"/>
          </p:cNvCxnSpPr>
          <p:nvPr userDrawn="1"/>
        </p:nvCxnSpPr>
        <p:spPr bwMode="auto">
          <a:xfrm>
            <a:off x="7715607" y="5839401"/>
            <a:ext cx="483064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9"/>
          <p:cNvCxnSpPr>
            <a:stCxn id="107" idx="3"/>
            <a:endCxn id="91" idx="1"/>
          </p:cNvCxnSpPr>
          <p:nvPr userDrawn="1"/>
        </p:nvCxnSpPr>
        <p:spPr bwMode="auto"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60"/>
          <p:cNvCxnSpPr>
            <a:stCxn id="105" idx="3"/>
            <a:endCxn id="90" idx="1"/>
          </p:cNvCxnSpPr>
          <p:nvPr userDrawn="1"/>
        </p:nvCxnSpPr>
        <p:spPr bwMode="auto">
          <a:xfrm>
            <a:off x="3996005" y="4592534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42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0163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6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61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1"/>
          </a:solidFill>
          <a:ln w="22225">
            <a:solidFill>
              <a:schemeClr val="tx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6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96000" y="1516936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6674" y="1516936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63803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10671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6936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6936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9624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800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8664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n weiße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6749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6353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48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2511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2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6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4092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0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7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634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4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5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77"/>
            <a:ext cx="184101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396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1" y="1511768"/>
            <a:ext cx="3752659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8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1235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893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6001" y="1786681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6001" y="462604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6001" y="3206363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8931" y="6043658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1" y="6045725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661861" y="178616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661861" y="462449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661861" y="320532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66186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661861" y="6043658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49787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endParaRPr lang="de-DE" noProof="0" dirty="0"/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1501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89318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27802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Inhalts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975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noProof="0" dirty="0" smtClean="0"/>
              <a:t>Optionale Headline einzeilig in CorpoA (Überschriften) 30 pt. </a:t>
            </a:r>
            <a:endParaRPr lang="de-DE" noProof="0" dirty="0"/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34255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/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555675"/>
            <a:ext cx="13875807" cy="7893048"/>
            <a:chOff x="-2088000" y="-555675"/>
            <a:chExt cx="13875807" cy="7893048"/>
          </a:xfrm>
        </p:grpSpPr>
        <p:grpSp>
          <p:nvGrpSpPr>
            <p:cNvPr id="28" name="Gruppieren 27"/>
            <p:cNvGrpSpPr/>
            <p:nvPr userDrawn="1"/>
          </p:nvGrpSpPr>
          <p:grpSpPr>
            <a:xfrm>
              <a:off x="-2088000" y="-468001"/>
              <a:ext cx="13875807" cy="7805374"/>
              <a:chOff x="-2088000" y="-468001"/>
              <a:chExt cx="13875807" cy="7805374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bringen über Menü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0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0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sp>
            <p:nvSpPr>
              <p:cNvPr id="30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zwischen weißem und schwarzem Folienlayout über Menü: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Entwurf // Design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(Rechtsklick: </a:t>
                </a:r>
                <a:r>
                  <a:rPr lang="de-DE" sz="1000" b="0" i="1" baseline="0" noProof="0" dirty="0" smtClean="0">
                    <a:solidFill>
                      <a:schemeClr val="accent5"/>
                    </a:solidFill>
                    <a:latin typeface="+mn-lt"/>
                  </a:rPr>
                  <a:t>Für alle Folien </a:t>
                </a: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oder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i="1" baseline="0" noProof="0" dirty="0" smtClean="0">
                    <a:solidFill>
                      <a:schemeClr val="accent5"/>
                    </a:solidFill>
                    <a:latin typeface="+mn-lt"/>
                  </a:rPr>
                  <a:t>Für ausgewählte Folien </a:t>
                </a: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übernehmen)</a:t>
                </a:r>
              </a:p>
            </p:txBody>
          </p:sp>
          <p:pic>
            <p:nvPicPr>
              <p:cNvPr id="31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6" name="Hilfslinien"/>
              <p:cNvSpPr txBox="1"/>
              <p:nvPr userDrawn="1"/>
            </p:nvSpPr>
            <p:spPr>
              <a:xfrm rot="10800000" flipH="1" flipV="1">
                <a:off x="432775" y="-468001"/>
                <a:ext cx="509033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Hilfslinien anzeigen über Menü: Ansicht // Anzeigen // Haken bei Führungslinien setzen</a:t>
                </a:r>
              </a:p>
            </p:txBody>
          </p:sp>
          <p:sp>
            <p:nvSpPr>
              <p:cNvPr id="37" name="Hilfslinien"/>
              <p:cNvSpPr txBox="1"/>
              <p:nvPr userDrawn="1"/>
            </p:nvSpPr>
            <p:spPr>
              <a:xfrm rot="10800000" flipH="1" flipV="1">
                <a:off x="7107287" y="-468000"/>
                <a:ext cx="4680520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servierte Bereiche für Stempel oder Icons</a:t>
                </a:r>
              </a:p>
            </p:txBody>
          </p:sp>
          <p:sp>
            <p:nvSpPr>
              <p:cNvPr id="38" name="Fußzeile"/>
              <p:cNvSpPr txBox="1"/>
              <p:nvPr userDrawn="1"/>
            </p:nvSpPr>
            <p:spPr>
              <a:xfrm rot="10800000" flipH="1" flipV="1">
                <a:off x="432775" y="6977373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Fußzeile pro Folie oder für alle/mehrere anpassen über Menü: Einfügen // Text // Kopf- und Fußzeile</a:t>
                </a:r>
              </a:p>
            </p:txBody>
          </p:sp>
        </p:grpSp>
        <p:pic>
          <p:nvPicPr>
            <p:cNvPr id="24" name="Picture 3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7026" y="-555675"/>
              <a:ext cx="1428750" cy="895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80727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2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noProof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noProof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9361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7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2069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0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32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678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7855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endParaRPr lang="de-DE" noProof="0" dirty="0"/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69579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6020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800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9311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607" y="52526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9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7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2000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867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734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2000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734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867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2000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734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867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cxnSp>
        <p:nvCxnSpPr>
          <p:cNvPr id="108" name="Gerade Verbindung 53"/>
          <p:cNvCxnSpPr>
            <a:stCxn id="104" idx="3"/>
            <a:endCxn id="88" idx="1"/>
          </p:cNvCxnSpPr>
          <p:nvPr userDrawn="1"/>
        </p:nvCxnSpPr>
        <p:spPr bwMode="auto">
          <a:xfrm>
            <a:off x="3996005" y="2098800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54"/>
          <p:cNvCxnSpPr>
            <a:stCxn id="106" idx="3"/>
            <a:endCxn id="89" idx="1"/>
          </p:cNvCxnSpPr>
          <p:nvPr userDrawn="1"/>
        </p:nvCxnSpPr>
        <p:spPr bwMode="auto">
          <a:xfrm>
            <a:off x="3996005" y="3345667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5"/>
          <p:cNvCxnSpPr>
            <a:stCxn id="100" idx="1"/>
            <a:endCxn id="67" idx="3"/>
          </p:cNvCxnSpPr>
          <p:nvPr userDrawn="1"/>
        </p:nvCxnSpPr>
        <p:spPr bwMode="auto"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6"/>
          <p:cNvCxnSpPr>
            <a:stCxn id="66" idx="3"/>
            <a:endCxn id="102" idx="1"/>
          </p:cNvCxnSpPr>
          <p:nvPr userDrawn="1"/>
        </p:nvCxnSpPr>
        <p:spPr bwMode="auto"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7"/>
          <p:cNvCxnSpPr>
            <a:stCxn id="68" idx="3"/>
            <a:endCxn id="101" idx="1"/>
          </p:cNvCxnSpPr>
          <p:nvPr userDrawn="1"/>
        </p:nvCxnSpPr>
        <p:spPr bwMode="auto"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8"/>
          <p:cNvCxnSpPr>
            <a:stCxn id="65" idx="3"/>
            <a:endCxn id="103" idx="1"/>
          </p:cNvCxnSpPr>
          <p:nvPr userDrawn="1"/>
        </p:nvCxnSpPr>
        <p:spPr bwMode="auto">
          <a:xfrm>
            <a:off x="7715607" y="5839401"/>
            <a:ext cx="483064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9"/>
          <p:cNvCxnSpPr>
            <a:stCxn id="107" idx="3"/>
            <a:endCxn id="91" idx="1"/>
          </p:cNvCxnSpPr>
          <p:nvPr userDrawn="1"/>
        </p:nvCxnSpPr>
        <p:spPr bwMode="auto"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60"/>
          <p:cNvCxnSpPr>
            <a:stCxn id="105" idx="3"/>
            <a:endCxn id="90" idx="1"/>
          </p:cNvCxnSpPr>
          <p:nvPr userDrawn="1"/>
        </p:nvCxnSpPr>
        <p:spPr bwMode="auto">
          <a:xfrm>
            <a:off x="3996005" y="4592534"/>
            <a:ext cx="483170" cy="0"/>
          </a:xfrm>
          <a:prstGeom prst="line">
            <a:avLst/>
          </a:prstGeom>
          <a:ln w="31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42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1624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Tabelle einfügen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 smtClean="0"/>
              <a:t>Tabellenüberschrift in CorpoS (Textkörper) in 20 pt. bold einfügen</a:t>
            </a:r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abellen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5363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0389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0689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0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7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2216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noProof="0" dirty="0" smtClean="0"/>
              <a:t>Optionale Headline einzeilig in CorpoA (Überschriften) 30 pt. </a:t>
            </a:r>
            <a:endParaRPr lang="de-DE" noProof="0" dirty="0"/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33127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weiß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599238"/>
            <a:ext cx="1218776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Daimler_Logotype_100_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6067" y="838201"/>
            <a:ext cx="4857751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11"/>
          <p:cNvSpPr>
            <a:spLocks noChangeShapeType="1"/>
          </p:cNvSpPr>
          <p:nvPr/>
        </p:nvSpPr>
        <p:spPr bwMode="auto">
          <a:xfrm>
            <a:off x="334434" y="2420938"/>
            <a:ext cx="11521017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90000" tIns="46800" rIns="90000" bIns="46800"/>
          <a:lstStyle/>
          <a:p>
            <a:pPr>
              <a:defRPr/>
            </a:pPr>
            <a:endParaRPr lang="de-DE" sz="1800"/>
          </a:p>
        </p:txBody>
      </p:sp>
      <p:sp>
        <p:nvSpPr>
          <p:cNvPr id="3257350" name="Rectangle 6"/>
          <p:cNvSpPr>
            <a:spLocks noGrp="1" noChangeAspect="1" noChangeArrowheads="1"/>
          </p:cNvSpPr>
          <p:nvPr>
            <p:ph type="ctrTitle"/>
          </p:nvPr>
        </p:nvSpPr>
        <p:spPr>
          <a:xfrm>
            <a:off x="527051" y="2528888"/>
            <a:ext cx="11156949" cy="428343"/>
          </a:xfrm>
        </p:spPr>
        <p:txBody>
          <a:bodyPr bIns="432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257352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527051" y="2952751"/>
            <a:ext cx="11135783" cy="335597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24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6098117" y="6704013"/>
            <a:ext cx="2844800" cy="1508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268884" y="6704013"/>
            <a:ext cx="2393949" cy="150812"/>
          </a:xfrm>
        </p:spPr>
        <p:txBody>
          <a:bodyPr/>
          <a:lstStyle>
            <a:lvl1pPr>
              <a:defRPr smtClean="0"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>
          <a:xfrm>
            <a:off x="334434" y="6308725"/>
            <a:ext cx="11523133" cy="287338"/>
          </a:xfrm>
          <a:solidFill>
            <a:schemeClr val="tx2"/>
          </a:solidFill>
        </p:spPr>
        <p:txBody>
          <a:bodyPr lIns="144000" rIns="144000"/>
          <a:lstStyle>
            <a:lvl1pPr>
              <a:defRPr sz="1600" smtClean="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772767696"/>
      </p:ext>
    </p:extLst>
  </p:cSld>
  <p:clrMapOvr>
    <a:masterClrMapping/>
  </p:clrMapOvr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9089542"/>
      </p:ext>
    </p:extLst>
  </p:cSld>
  <p:clrMapOvr>
    <a:masterClrMapping/>
  </p:clrMapOvr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205458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6386508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1" y="1543050"/>
            <a:ext cx="5467349" cy="4910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1" y="1543050"/>
            <a:ext cx="5467351" cy="4910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3626544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20738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6996687"/>
      </p:ext>
    </p:extLst>
  </p:cSld>
  <p:clrMapOvr>
    <a:masterClrMapping/>
  </p:clrMapOvr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916652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6474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283607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29642"/>
            <a:ext cx="4011084" cy="120545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5674793"/>
      </p:ext>
    </p:extLst>
  </p:cSld>
  <p:clrMapOvr>
    <a:masterClrMapping/>
  </p:clrMapOvr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546600"/>
            <a:ext cx="7315200" cy="820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6034077"/>
      </p:ext>
    </p:extLst>
  </p:cSld>
  <p:clrMapOvr>
    <a:masterClrMapping/>
  </p:clrMapOvr>
  <p:hf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1167199"/>
      </p:ext>
    </p:extLst>
  </p:cSld>
  <p:clrMapOvr>
    <a:masterClrMapping/>
  </p:clrMapOvr>
  <p:hf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895510" y="730250"/>
            <a:ext cx="769441" cy="57229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7051" y="730250"/>
            <a:ext cx="8151283" cy="57229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2742477"/>
      </p:ext>
    </p:extLst>
  </p:cSld>
  <p:clrMapOvr>
    <a:masterClrMapping/>
  </p:clrMapOvr>
  <p:hf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/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555675"/>
            <a:ext cx="13875807" cy="7893048"/>
            <a:chOff x="-2088000" y="-555675"/>
            <a:chExt cx="13875807" cy="7893048"/>
          </a:xfrm>
        </p:grpSpPr>
        <p:grpSp>
          <p:nvGrpSpPr>
            <p:cNvPr id="28" name="Gruppieren 27"/>
            <p:cNvGrpSpPr/>
            <p:nvPr userDrawn="1"/>
          </p:nvGrpSpPr>
          <p:grpSpPr>
            <a:xfrm>
              <a:off x="-2088000" y="-468001"/>
              <a:ext cx="13875807" cy="7805374"/>
              <a:chOff x="-2088000" y="-468001"/>
              <a:chExt cx="13875807" cy="7805374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Folie in Ursprungsform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bringen über Menü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Folien // Zurücksetzen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0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des Folienlayouts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im Menü über: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Folien // Layout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10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der Text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im Menü über: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Start // Absatz // Listenebene erhöhen/verringern</a:t>
                </a:r>
              </a:p>
            </p:txBody>
          </p:sp>
          <p:sp>
            <p:nvSpPr>
              <p:cNvPr id="30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Wechsel zwischen weißem und schwarzem Folienlayout über Menü: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Entwurf // Designs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(Rechtsklick: </a:t>
                </a:r>
                <a:r>
                  <a:rPr lang="de-DE" sz="1000" b="0" i="1" baseline="0" noProof="0" dirty="0" smtClean="0">
                    <a:solidFill>
                      <a:schemeClr val="accent5"/>
                    </a:solidFill>
                    <a:latin typeface="+mn-lt"/>
                  </a:rPr>
                  <a:t>Für alle Folien </a:t>
                </a: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oder </a:t>
                </a:r>
                <a:b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de-DE" sz="1000" b="0" i="1" baseline="0" noProof="0" dirty="0" smtClean="0">
                    <a:solidFill>
                      <a:schemeClr val="accent5"/>
                    </a:solidFill>
                    <a:latin typeface="+mn-lt"/>
                  </a:rPr>
                  <a:t>Für ausgewählte Folien </a:t>
                </a: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übernehmen)</a:t>
                </a:r>
              </a:p>
            </p:txBody>
          </p:sp>
          <p:pic>
            <p:nvPicPr>
              <p:cNvPr id="31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91427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6" name="Hilfslinien"/>
              <p:cNvSpPr txBox="1"/>
              <p:nvPr userDrawn="1"/>
            </p:nvSpPr>
            <p:spPr>
              <a:xfrm rot="10800000" flipH="1" flipV="1">
                <a:off x="432775" y="-468001"/>
                <a:ext cx="509033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Hilfslinien anzeigen über Menü: Ansicht // Anzeigen // Haken bei Führungslinien setzen</a:t>
                </a:r>
              </a:p>
            </p:txBody>
          </p:sp>
          <p:sp>
            <p:nvSpPr>
              <p:cNvPr id="37" name="Hilfslinien"/>
              <p:cNvSpPr txBox="1"/>
              <p:nvPr userDrawn="1"/>
            </p:nvSpPr>
            <p:spPr>
              <a:xfrm rot="10800000" flipH="1" flipV="1">
                <a:off x="7107287" y="-468000"/>
                <a:ext cx="4680520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servierte Bereiche für Stempel oder Icons</a:t>
                </a:r>
              </a:p>
            </p:txBody>
          </p:sp>
          <p:sp>
            <p:nvSpPr>
              <p:cNvPr id="38" name="Fußzeile"/>
              <p:cNvSpPr txBox="1"/>
              <p:nvPr userDrawn="1"/>
            </p:nvSpPr>
            <p:spPr>
              <a:xfrm rot="10800000" flipH="1" flipV="1">
                <a:off x="432775" y="6977373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10429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000" b="0" baseline="0" noProof="0" dirty="0" smtClean="0">
                    <a:solidFill>
                      <a:schemeClr val="accent5"/>
                    </a:solidFill>
                    <a:latin typeface="+mn-lt"/>
                  </a:rPr>
                  <a:t>Fußzeile pro Folie oder für alle/mehrere anpassen über Menü: Einfügen // Text // Kopf- und Fußzeile</a:t>
                </a:r>
              </a:p>
            </p:txBody>
          </p:sp>
        </p:grpSp>
        <p:pic>
          <p:nvPicPr>
            <p:cNvPr id="24" name="Picture 3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7026" y="-555675"/>
              <a:ext cx="1428750" cy="895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66015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32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555675"/>
            <a:ext cx="13875807" cy="7893048"/>
            <a:chOff x="-2088000" y="-555675"/>
            <a:chExt cx="13875807" cy="7893048"/>
          </a:xfrm>
        </p:grpSpPr>
        <p:grpSp>
          <p:nvGrpSpPr>
            <p:cNvPr id="2" name="Gruppieren 1"/>
            <p:cNvGrpSpPr/>
            <p:nvPr userDrawn="1"/>
          </p:nvGrpSpPr>
          <p:grpSpPr>
            <a:xfrm>
              <a:off x="-2088000" y="-468001"/>
              <a:ext cx="13875807" cy="7805374"/>
              <a:chOff x="-2088000" y="-468001"/>
              <a:chExt cx="13875807" cy="7805374"/>
            </a:xfrm>
          </p:grpSpPr>
          <p:sp>
            <p:nvSpPr>
              <p:cNvPr id="11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Folie in Ursprungsform </a:t>
                </a:r>
              </a:p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bringen über Menü:</a:t>
                </a:r>
              </a:p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Start // Folien // Zurücksetzen</a:t>
                </a:r>
              </a:p>
              <a:p>
                <a:pPr algn="r"/>
                <a:endParaRPr lang="de-DE" sz="1000" dirty="0" smtClean="0">
                  <a:solidFill>
                    <a:srgbClr val="444444"/>
                  </a:solidFill>
                </a:endParaRPr>
              </a:p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Wechsel des Folienlayouts </a:t>
                </a:r>
                <a:br>
                  <a:rPr lang="de-DE" sz="1000" dirty="0" smtClean="0">
                    <a:solidFill>
                      <a:srgbClr val="444444"/>
                    </a:solidFill>
                  </a:rPr>
                </a:br>
                <a:r>
                  <a:rPr lang="de-DE" sz="1000" dirty="0" smtClean="0">
                    <a:solidFill>
                      <a:srgbClr val="444444"/>
                    </a:solidFill>
                  </a:rPr>
                  <a:t>im Menü über:</a:t>
                </a:r>
              </a:p>
              <a:p>
                <a:pPr algn="r" defTabSz="914271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Start // Folien // Layout</a:t>
                </a:r>
              </a:p>
              <a:p>
                <a:pPr algn="r" defTabSz="914271">
                  <a:defRPr/>
                </a:pPr>
                <a:endParaRPr lang="de-DE" sz="1000" dirty="0" smtClean="0">
                  <a:solidFill>
                    <a:srgbClr val="444444"/>
                  </a:solidFill>
                </a:endParaRPr>
              </a:p>
              <a:p>
                <a:pPr algn="r" defTabSz="914271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Wechsel der Textebene</a:t>
                </a:r>
              </a:p>
              <a:p>
                <a:pPr algn="r" defTabSz="914271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im Menü über: </a:t>
                </a:r>
                <a:br>
                  <a:rPr lang="de-DE" sz="1000" dirty="0" smtClean="0">
                    <a:solidFill>
                      <a:srgbClr val="444444"/>
                    </a:solidFill>
                  </a:rPr>
                </a:br>
                <a:r>
                  <a:rPr lang="de-DE" sz="1000" dirty="0" smtClean="0">
                    <a:solidFill>
                      <a:srgbClr val="444444"/>
                    </a:solidFill>
                  </a:rPr>
                  <a:t>Start // Absatz // Listenebene erhöhen/verringern</a:t>
                </a:r>
              </a:p>
            </p:txBody>
          </p:sp>
          <p:sp>
            <p:nvSpPr>
              <p:cNvPr id="12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Wechsel zwischen weißem und schwarzem Folienlayout über Menü: </a:t>
                </a:r>
                <a:br>
                  <a:rPr lang="de-DE" sz="1000" dirty="0" smtClean="0">
                    <a:solidFill>
                      <a:srgbClr val="444444"/>
                    </a:solidFill>
                  </a:rPr>
                </a:br>
                <a:r>
                  <a:rPr lang="de-DE" sz="1000" dirty="0" smtClean="0">
                    <a:solidFill>
                      <a:srgbClr val="444444"/>
                    </a:solidFill>
                  </a:rPr>
                  <a:t>Entwurf // Designs</a:t>
                </a:r>
              </a:p>
              <a:p>
                <a:pPr algn="r"/>
                <a:r>
                  <a:rPr lang="de-DE" sz="1000" dirty="0" smtClean="0">
                    <a:solidFill>
                      <a:srgbClr val="444444"/>
                    </a:solidFill>
                  </a:rPr>
                  <a:t>(Rechtsklick: </a:t>
                </a:r>
                <a:r>
                  <a:rPr lang="de-DE" sz="1000" i="1" dirty="0" smtClean="0">
                    <a:solidFill>
                      <a:srgbClr val="444444"/>
                    </a:solidFill>
                  </a:rPr>
                  <a:t>Für alle Folien </a:t>
                </a:r>
                <a:r>
                  <a:rPr lang="de-DE" sz="1000" dirty="0" smtClean="0">
                    <a:solidFill>
                      <a:srgbClr val="444444"/>
                    </a:solidFill>
                  </a:rPr>
                  <a:t>oder </a:t>
                </a:r>
                <a:br>
                  <a:rPr lang="de-DE" sz="1000" dirty="0" smtClean="0">
                    <a:solidFill>
                      <a:srgbClr val="444444"/>
                    </a:solidFill>
                  </a:rPr>
                </a:br>
                <a:r>
                  <a:rPr lang="de-DE" sz="1000" i="1" dirty="0" smtClean="0">
                    <a:solidFill>
                      <a:srgbClr val="444444"/>
                    </a:solidFill>
                  </a:rPr>
                  <a:t>Für ausgewählte Folien </a:t>
                </a:r>
                <a:r>
                  <a:rPr lang="de-DE" sz="1000" dirty="0" smtClean="0">
                    <a:solidFill>
                      <a:srgbClr val="444444"/>
                    </a:solidFill>
                  </a:rPr>
                  <a:t>übernehmen)</a:t>
                </a:r>
              </a:p>
            </p:txBody>
          </p:sp>
          <p:pic>
            <p:nvPicPr>
              <p:cNvPr id="14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Listenebene</a:t>
                </a:r>
              </a:p>
              <a:p>
                <a:pPr algn="r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erhöhen</a:t>
                </a:r>
              </a:p>
            </p:txBody>
          </p:sp>
          <p:sp>
            <p:nvSpPr>
              <p:cNvPr id="23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Listenebene</a:t>
                </a:r>
              </a:p>
              <a:p>
                <a:pPr algn="r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verringern</a:t>
                </a:r>
              </a:p>
            </p:txBody>
          </p:sp>
          <p:sp>
            <p:nvSpPr>
              <p:cNvPr id="25" name="Hilfslinien"/>
              <p:cNvSpPr txBox="1"/>
              <p:nvPr userDrawn="1"/>
            </p:nvSpPr>
            <p:spPr>
              <a:xfrm rot="10800000" flipH="1" flipV="1">
                <a:off x="432775" y="-468001"/>
                <a:ext cx="509033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42909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Hilfslinien anzeigen über Menü: Ansicht // Anzeigen // Haken bei Führungslinien setzen</a:t>
                </a:r>
              </a:p>
            </p:txBody>
          </p:sp>
          <p:sp>
            <p:nvSpPr>
              <p:cNvPr id="26" name="Hilfslinien"/>
              <p:cNvSpPr txBox="1"/>
              <p:nvPr userDrawn="1"/>
            </p:nvSpPr>
            <p:spPr>
              <a:xfrm rot="10800000" flipH="1" flipV="1">
                <a:off x="7107287" y="-468000"/>
                <a:ext cx="4680520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042909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Reservierte Bereiche für Stempel oder Icons</a:t>
                </a:r>
              </a:p>
            </p:txBody>
          </p:sp>
          <p:sp>
            <p:nvSpPr>
              <p:cNvPr id="28" name="Fußzeile"/>
              <p:cNvSpPr txBox="1"/>
              <p:nvPr userDrawn="1"/>
            </p:nvSpPr>
            <p:spPr>
              <a:xfrm rot="10800000" flipH="1" flipV="1">
                <a:off x="432775" y="6977373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1042909">
                  <a:defRPr/>
                </a:pPr>
                <a:r>
                  <a:rPr lang="de-DE" sz="1000" dirty="0" smtClean="0">
                    <a:solidFill>
                      <a:srgbClr val="444444"/>
                    </a:solidFill>
                  </a:rPr>
                  <a:t>Fußzeile pro Folie oder für alle/mehrere anpassen über Menü: Einfügen // Text // Kopf- und Fußzeile</a:t>
                </a:r>
              </a:p>
            </p:txBody>
          </p:sp>
        </p:grpSp>
        <p:pic>
          <p:nvPicPr>
            <p:cNvPr id="29" name="Picture 3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7026" y="-555675"/>
              <a:ext cx="1428750" cy="895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27708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1643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noProof="0" dirty="0" smtClean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08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325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n weiße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191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6665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Inhalts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950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Tabelle einfügen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de-DE" noProof="0" dirty="0" smtClean="0"/>
              <a:t>Tabellenüberschrift in CorpoS (Textkörper) in 20 pt. bold einfügen</a:t>
            </a:r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abellen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519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367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950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466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500" dirty="0" smtClean="0">
                    <a:solidFill>
                      <a:srgbClr val="444444"/>
                    </a:solidFill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dirty="0" smtClean="0">
                    <a:solidFill>
                      <a:srgbClr val="444444"/>
                    </a:solidFill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rgbClr val="444444"/>
                    </a:solidFill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rgbClr val="444444"/>
                  </a:solidFill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ausschnitt verändern über Menü: Bildtools // Format // Größe // Zuschneid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 kann innerhalb der schwarzen Begrenzungen bei gedrückter alt-Taste bewegt werden.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größe zuschneiden über Menü: Bildtools // Format // Größe // Zuschneid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 bei gedrückter Umschalt-Taste über die hellen Eckpunkte auf die passende Größe ziehen. 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de-DE" sz="1000" dirty="0" smtClean="0">
                <a:solidFill>
                  <a:srgbClr val="444444"/>
                </a:solidFill>
              </a:endParaRPr>
            </a:p>
            <a:p>
              <a:pPr marL="71990" indent="-71990">
                <a:buFont typeface="Arial" panose="020B0604020202020204" pitchFamily="34" charset="0"/>
                <a:buChar char="•"/>
              </a:pPr>
              <a:r>
                <a:rPr lang="de-DE" sz="1000" dirty="0" smtClean="0">
                  <a:solidFill>
                    <a:srgbClr val="444444"/>
                  </a:solidFill>
                </a:rPr>
                <a:t>Bildgröße einpassen über Menü: Bildtools // Format // Größe // Zuschneiden // Einpassen</a:t>
              </a:r>
            </a:p>
            <a:p>
              <a:pPr marL="71990" indent="-71990">
                <a:buFont typeface="Arial" panose="020B0604020202020204" pitchFamily="34" charset="0"/>
                <a:buChar char="•"/>
              </a:pPr>
              <a:endParaRPr lang="de-DE" sz="1000" dirty="0" smtClean="0">
                <a:solidFill>
                  <a:srgbClr val="444444"/>
                </a:solidFill>
              </a:endParaRPr>
            </a:p>
          </p:txBody>
        </p:sp>
      </p:grp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255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367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05" y="20981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05" y="33452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176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05" y="45923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692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     </a:t>
            </a:r>
          </a:p>
        </p:txBody>
      </p:sp>
      <p:sp>
        <p:nvSpPr>
          <p:cNvPr id="5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CorpoS 15 pt. // kleineren Text: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687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2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8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368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6897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243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550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058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29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smtClean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47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360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000" dirty="0" smtClean="0">
              <a:solidFill>
                <a:srgbClr val="000000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77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009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86681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62604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206363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6045725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2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8616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3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62449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4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20532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851094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0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Headline zweizeilig in CorpoA (Überschriften) 30 pt. </a:t>
            </a:r>
            <a:endParaRPr lang="de-DE" noProof="0" dirty="0"/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5"/>
            <a:r>
              <a:rPr lang="de-DE" noProof="0" dirty="0" smtClean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25441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807114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22414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34" Type="http://schemas.openxmlformats.org/officeDocument/2006/relationships/slideLayout" Target="../slideLayouts/slideLayout59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slideLayout" Target="../slideLayouts/slideLayout58.xml"/><Relationship Id="rId38" Type="http://schemas.openxmlformats.org/officeDocument/2006/relationships/slideLayout" Target="../slideLayouts/slideLayout6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4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slideLayout" Target="../slideLayouts/slideLayout57.xml"/><Relationship Id="rId37" Type="http://schemas.openxmlformats.org/officeDocument/2006/relationships/slideLayout" Target="../slideLayouts/slideLayout62.xml"/><Relationship Id="rId40" Type="http://schemas.openxmlformats.org/officeDocument/2006/relationships/image" Target="../media/image11.emf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36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slideLayout" Target="../slideLayouts/slideLayout56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55.xml"/><Relationship Id="rId35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image" Target="../media/image1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vmlDrawing" Target="../drawings/vmlDrawing3.v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413332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" name="think-cell Folie" r:id="rId29" imgW="216" imgH="216" progId="TCLayout.ActiveDocument.1">
                  <p:embed/>
                </p:oleObj>
              </mc:Choice>
              <mc:Fallback>
                <p:oleObj name="think-cell Folie" r:id="rId2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88" y="367505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2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2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2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2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49986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717" r:id="rId2"/>
    <p:sldLayoutId id="2147483660" r:id="rId3"/>
    <p:sldLayoutId id="2147483736" r:id="rId4"/>
    <p:sldLayoutId id="2147483733" r:id="rId5"/>
    <p:sldLayoutId id="2147483731" r:id="rId6"/>
    <p:sldLayoutId id="2147483721" r:id="rId7"/>
    <p:sldLayoutId id="2147483703" r:id="rId8"/>
    <p:sldLayoutId id="2147483704" r:id="rId9"/>
    <p:sldLayoutId id="2147483700" r:id="rId10"/>
    <p:sldLayoutId id="2147483679" r:id="rId11"/>
    <p:sldLayoutId id="2147483689" r:id="rId12"/>
    <p:sldLayoutId id="2147483692" r:id="rId13"/>
    <p:sldLayoutId id="2147483694" r:id="rId14"/>
    <p:sldLayoutId id="2147483680" r:id="rId15"/>
    <p:sldLayoutId id="2147483707" r:id="rId16"/>
    <p:sldLayoutId id="2147483683" r:id="rId17"/>
    <p:sldLayoutId id="2147483684" r:id="rId18"/>
    <p:sldLayoutId id="2147483711" r:id="rId19"/>
    <p:sldLayoutId id="2147483712" r:id="rId20"/>
    <p:sldLayoutId id="2147483698" r:id="rId21"/>
    <p:sldLayoutId id="2147483729" r:id="rId22"/>
    <p:sldLayoutId id="2147483727" r:id="rId23"/>
    <p:sldLayoutId id="2147483728" r:id="rId24"/>
    <p:sldLayoutId id="2147483682" r:id="rId25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elplatzhalter 1"/>
          <p:cNvSpPr>
            <a:spLocks noGrp="1"/>
          </p:cNvSpPr>
          <p:nvPr>
            <p:ph type="title"/>
          </p:nvPr>
        </p:nvSpPr>
        <p:spPr bwMode="black">
          <a:xfrm>
            <a:off x="395289" y="368300"/>
            <a:ext cx="11406187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7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395288" y="1511300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noProof="0" dirty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3" name="32,78 // 15,84"/>
          <p:cNvCxnSpPr/>
          <p:nvPr/>
        </p:nvCxnSpPr>
        <p:spPr bwMode="black"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1,1 // 15,84"/>
          <p:cNvCxnSpPr/>
          <p:nvPr/>
        </p:nvCxnSpPr>
        <p:spPr bwMode="black">
          <a:xfrm>
            <a:off x="397669" y="-447102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32,78 // 15,84"/>
          <p:cNvCxnSpPr/>
          <p:nvPr/>
        </p:nvCxnSpPr>
        <p:spPr bwMode="black"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1,1 // 15,84"/>
          <p:cNvCxnSpPr/>
          <p:nvPr/>
        </p:nvCxnSpPr>
        <p:spPr bwMode="black"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17,85 // 8,32"/>
          <p:cNvCxnSpPr/>
          <p:nvPr/>
        </p:nvCxnSpPr>
        <p:spPr bwMode="black">
          <a:xfrm>
            <a:off x="12307182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4,2 // 5,33"/>
          <p:cNvCxnSpPr/>
          <p:nvPr/>
        </p:nvCxnSpPr>
        <p:spPr bwMode="black">
          <a:xfrm>
            <a:off x="12307182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02 // 8,5"/>
          <p:cNvCxnSpPr/>
          <p:nvPr/>
        </p:nvCxnSpPr>
        <p:spPr bwMode="black">
          <a:xfrm>
            <a:off x="12307182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7,85 // 8,32"/>
          <p:cNvCxnSpPr/>
          <p:nvPr/>
        </p:nvCxnSpPr>
        <p:spPr bwMode="black"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4,2 // 5,33"/>
          <p:cNvCxnSpPr/>
          <p:nvPr/>
        </p:nvCxnSpPr>
        <p:spPr bwMode="black"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1,02 // 8,5"/>
          <p:cNvCxnSpPr/>
          <p:nvPr/>
        </p:nvCxnSpPr>
        <p:spPr bwMode="black"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7568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719" r:id="rId2"/>
    <p:sldLayoutId id="2147483664" r:id="rId3"/>
    <p:sldLayoutId id="2147483735" r:id="rId4"/>
    <p:sldLayoutId id="2147483734" r:id="rId5"/>
    <p:sldLayoutId id="2147483732" r:id="rId6"/>
    <p:sldLayoutId id="2147483722" r:id="rId7"/>
    <p:sldLayoutId id="2147483705" r:id="rId8"/>
    <p:sldLayoutId id="2147483706" r:id="rId9"/>
    <p:sldLayoutId id="2147483701" r:id="rId10"/>
    <p:sldLayoutId id="2147483702" r:id="rId11"/>
    <p:sldLayoutId id="2147483691" r:id="rId12"/>
    <p:sldLayoutId id="2147483693" r:id="rId13"/>
    <p:sldLayoutId id="2147483695" r:id="rId14"/>
    <p:sldLayoutId id="2147483685" r:id="rId15"/>
    <p:sldLayoutId id="2147483708" r:id="rId16"/>
    <p:sldLayoutId id="2147483686" r:id="rId17"/>
    <p:sldLayoutId id="2147483687" r:id="rId18"/>
    <p:sldLayoutId id="2147483715" r:id="rId19"/>
    <p:sldLayoutId id="2147483716" r:id="rId20"/>
    <p:sldLayoutId id="2147483730" r:id="rId21"/>
    <p:sldLayoutId id="2147483723" r:id="rId22"/>
    <p:sldLayoutId id="2147483676" r:id="rId23"/>
    <p:sldLayoutId id="2147483677" r:id="rId24"/>
    <p:sldLayoutId id="2147483724" r:id="rId25"/>
    <p:sldLayoutId id="2147483787" r:id="rId26"/>
    <p:sldLayoutId id="2147483775" r:id="rId27"/>
    <p:sldLayoutId id="2147483776" r:id="rId28"/>
    <p:sldLayoutId id="2147483777" r:id="rId29"/>
    <p:sldLayoutId id="2147483778" r:id="rId30"/>
    <p:sldLayoutId id="2147483779" r:id="rId31"/>
    <p:sldLayoutId id="2147483780" r:id="rId32"/>
    <p:sldLayoutId id="2147483781" r:id="rId33"/>
    <p:sldLayoutId id="2147483782" r:id="rId34"/>
    <p:sldLayoutId id="2147483783" r:id="rId35"/>
    <p:sldLayoutId id="2147483784" r:id="rId36"/>
    <p:sldLayoutId id="2147483785" r:id="rId37"/>
    <p:sldLayoutId id="2147483786" r:id="rId38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051" y="1543050"/>
            <a:ext cx="11137900" cy="491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3256323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7052" y="6705600"/>
            <a:ext cx="55668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spcAft>
                <a:spcPct val="50000"/>
              </a:spcAft>
              <a:defRPr sz="900" smtClean="0"/>
            </a:lvl1pPr>
          </a:lstStyle>
          <a:p>
            <a:r>
              <a:rPr lang="de-DE" noProof="0" smtClean="0"/>
              <a:t>Titel der Präsentation in CorpoS (Textkörper) 10pt | Abteilung | Datum</a:t>
            </a:r>
            <a:endParaRPr lang="de-DE" noProof="0" dirty="0"/>
          </a:p>
        </p:txBody>
      </p:sp>
      <p:sp>
        <p:nvSpPr>
          <p:cNvPr id="325632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71001" y="6705600"/>
            <a:ext cx="2393951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0000"/>
              </a:lnSpc>
              <a:spcAft>
                <a:spcPct val="50000"/>
              </a:spcAft>
              <a:defRPr sz="900" smtClean="0"/>
            </a:lvl1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730250"/>
            <a:ext cx="11137900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318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pic>
        <p:nvPicPr>
          <p:cNvPr id="1030" name="Picture 7" descr="Daimler_Logotype_042_C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17" y="176213"/>
            <a:ext cx="2080683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56332" name="Line 12"/>
          <p:cNvSpPr>
            <a:spLocks noChangeShapeType="1"/>
          </p:cNvSpPr>
          <p:nvPr/>
        </p:nvSpPr>
        <p:spPr bwMode="auto">
          <a:xfrm>
            <a:off x="334434" y="593725"/>
            <a:ext cx="11563351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90000" tIns="46800" rIns="90000" bIns="46800"/>
          <a:lstStyle/>
          <a:p>
            <a:pPr>
              <a:defRPr/>
            </a:pPr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463474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</a:defRPr>
      </a:lvl9pPr>
    </p:titleStyle>
    <p:bodyStyle>
      <a:lvl1pPr marL="342900" indent="-342900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1450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000">
          <a:solidFill>
            <a:schemeClr val="tx1"/>
          </a:solidFill>
          <a:latin typeface="+mn-lt"/>
        </a:defRPr>
      </a:lvl2pPr>
      <a:lvl3pPr marL="808038" indent="-179388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000">
          <a:solidFill>
            <a:schemeClr val="tx1"/>
          </a:solidFill>
          <a:latin typeface="+mn-lt"/>
        </a:defRPr>
      </a:lvl3pPr>
      <a:lvl4pPr marL="1262063" indent="-177800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000">
          <a:solidFill>
            <a:schemeClr val="tx1"/>
          </a:solidFill>
          <a:latin typeface="+mn-lt"/>
        </a:defRPr>
      </a:lvl4pPr>
      <a:lvl5pPr marL="1624013" indent="-182563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000">
          <a:solidFill>
            <a:schemeClr val="tx1"/>
          </a:solidFill>
          <a:latin typeface="+mn-lt"/>
        </a:defRPr>
      </a:lvl5pPr>
      <a:lvl6pPr marL="2081213" indent="-182563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000">
          <a:solidFill>
            <a:schemeClr val="tx1"/>
          </a:solidFill>
          <a:latin typeface="+mn-lt"/>
        </a:defRPr>
      </a:lvl6pPr>
      <a:lvl7pPr marL="2538413" indent="-182563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000">
          <a:solidFill>
            <a:schemeClr val="tx1"/>
          </a:solidFill>
          <a:latin typeface="+mn-lt"/>
        </a:defRPr>
      </a:lvl7pPr>
      <a:lvl8pPr marL="2995613" indent="-182563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000">
          <a:solidFill>
            <a:schemeClr val="tx1"/>
          </a:solidFill>
          <a:latin typeface="+mn-lt"/>
        </a:defRPr>
      </a:lvl8pPr>
      <a:lvl9pPr marL="3452813" indent="-182563" algn="l" rtl="0" eaLnBrk="1" fontAlgn="base" hangingPunct="1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776422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" name="think-cell Folie" r:id="rId29" imgW="216" imgH="216" progId="TCLayout.ActiveDocument.1">
                  <p:embed/>
                </p:oleObj>
              </mc:Choice>
              <mc:Fallback>
                <p:oleObj name="think-cell Folie" r:id="rId2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88" y="367505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2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2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2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2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16175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  <p:sldLayoutId id="2147483837" r:id="rId23"/>
    <p:sldLayoutId id="2147483838" r:id="rId24"/>
    <p:sldLayoutId id="2147483839" r:id="rId25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88" y="367505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Titel der Präsentation in CorpoS (Textkörper) 10pt | Abteilung | Datu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2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2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2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2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16631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  <p:sldLayoutId id="2147483879" r:id="rId12"/>
    <p:sldLayoutId id="2147483880" r:id="rId13"/>
    <p:sldLayoutId id="2147483881" r:id="rId14"/>
    <p:sldLayoutId id="2147483882" r:id="rId15"/>
    <p:sldLayoutId id="2147483883" r:id="rId16"/>
    <p:sldLayoutId id="2147483884" r:id="rId17"/>
    <p:sldLayoutId id="2147483885" r:id="rId18"/>
    <p:sldLayoutId id="2147483886" r:id="rId19"/>
    <p:sldLayoutId id="2147483887" r:id="rId20"/>
    <p:sldLayoutId id="2147483888" r:id="rId21"/>
    <p:sldLayoutId id="2147483889" r:id="rId22"/>
    <p:sldLayoutId id="2147483890" r:id="rId23"/>
    <p:sldLayoutId id="2147483891" r:id="rId24"/>
    <p:sldLayoutId id="2147483892" r:id="rId25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75.xml"/><Relationship Id="rId7" Type="http://schemas.openxmlformats.org/officeDocument/2006/relationships/hyperlink" Target="https://mapcms.e.corpintra.net/bmbds/de/dynamic/searchview.html?currentTab=asset&amp;category=media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0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432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1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335360" y="3918259"/>
            <a:ext cx="8928000" cy="950901"/>
          </a:xfrm>
        </p:spPr>
        <p:txBody>
          <a:bodyPr/>
          <a:lstStyle/>
          <a:p>
            <a:r>
              <a:rPr lang="de-DE" sz="3600" dirty="0" smtClean="0"/>
              <a:t>Trennstellenkontaktierung</a:t>
            </a:r>
            <a:endParaRPr lang="de-DE" sz="3600" dirty="0"/>
          </a:p>
        </p:txBody>
      </p:sp>
      <p:pic>
        <p:nvPicPr>
          <p:cNvPr id="26" name="Bildplatzhalter 1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" b="8"/>
          <a:stretch>
            <a:fillRect/>
          </a:stretch>
        </p:blipFill>
        <p:spPr/>
      </p:pic>
      <p:sp>
        <p:nvSpPr>
          <p:cNvPr id="16" name="Textplatzhalter 1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2" name="More Icons on..."/>
          <p:cNvSpPr/>
          <p:nvPr/>
        </p:nvSpPr>
        <p:spPr>
          <a:xfrm>
            <a:off x="0" y="7245424"/>
            <a:ext cx="12193202" cy="50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500" dirty="0" smtClean="0">
                <a:solidFill>
                  <a:srgbClr val="080808"/>
                </a:solidFill>
              </a:rPr>
              <a:t>Aktuelles Bildmaterial für Titelfolien finden Sie im BDS unter</a:t>
            </a:r>
            <a:br>
              <a:rPr lang="de-DE" sz="1500" dirty="0" smtClean="0">
                <a:solidFill>
                  <a:srgbClr val="080808"/>
                </a:solidFill>
              </a:rPr>
            </a:br>
            <a:r>
              <a:rPr lang="de-DE" sz="1500" dirty="0" smtClean="0">
                <a:solidFill>
                  <a:srgbClr val="080808"/>
                </a:solidFill>
                <a:hlinkClick r:id="rId7"/>
              </a:rPr>
              <a:t>https</a:t>
            </a:r>
            <a:r>
              <a:rPr lang="de-DE" sz="1500" dirty="0">
                <a:solidFill>
                  <a:srgbClr val="080808"/>
                </a:solidFill>
                <a:hlinkClick r:id="rId7"/>
              </a:rPr>
              <a:t>://</a:t>
            </a:r>
            <a:r>
              <a:rPr lang="de-DE" sz="1500" dirty="0" smtClean="0">
                <a:solidFill>
                  <a:srgbClr val="080808"/>
                </a:solidFill>
                <a:hlinkClick r:id="rId7"/>
              </a:rPr>
              <a:t>mapcms.e.corpintra.net/bmbds/de/dynamic/searchview.html?currentTab=asset&amp;category=media</a:t>
            </a:r>
            <a:endParaRPr lang="de-DE" sz="2000" dirty="0">
              <a:solidFill>
                <a:srgbClr val="080808"/>
              </a:solidFill>
            </a:endParaRPr>
          </a:p>
        </p:txBody>
      </p:sp>
      <p:pic>
        <p:nvPicPr>
          <p:cNvPr id="9" name="Bildplatzhalter 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41" b="7061"/>
          <a:stretch/>
        </p:blipFill>
        <p:spPr bwMode="gray">
          <a:xfrm>
            <a:off x="2" y="313201"/>
            <a:ext cx="12198350" cy="3405600"/>
          </a:xfrm>
          <a:prstGeom prst="rect">
            <a:avLst/>
          </a:prstGeom>
          <a:solidFill>
            <a:srgbClr val="9F0002"/>
          </a:solidFill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96000" y="4932000"/>
            <a:ext cx="10524536" cy="756000"/>
          </a:xfrm>
        </p:spPr>
        <p:txBody>
          <a:bodyPr/>
          <a:lstStyle/>
          <a:p>
            <a:r>
              <a:rPr lang="de-DE" sz="1600" dirty="0" smtClean="0"/>
              <a:t>Methoden zur Implementierung einer „LS-übergreifenden“ </a:t>
            </a:r>
            <a:r>
              <a:rPr lang="de-DE" sz="1600" dirty="0" err="1" smtClean="0"/>
              <a:t>Merge</a:t>
            </a:r>
            <a:r>
              <a:rPr lang="de-DE" sz="1600" dirty="0" smtClean="0"/>
              <a:t>-Funktion </a:t>
            </a:r>
            <a:r>
              <a:rPr lang="de-DE" sz="1600" dirty="0" smtClean="0">
                <a:sym typeface="Wingdings" panose="05000000000000000000" pitchFamily="2" charset="2"/>
              </a:rPr>
              <a:t> Fokus: Umgang mit Trennstellen</a:t>
            </a:r>
            <a:endParaRPr lang="de-DE" sz="1600" dirty="0" smtClean="0"/>
          </a:p>
          <a:p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Rajeeth</a:t>
            </a:r>
            <a:r>
              <a:rPr lang="de-DE" dirty="0" smtClean="0"/>
              <a:t> </a:t>
            </a:r>
            <a:r>
              <a:rPr lang="de-DE" dirty="0" err="1" smtClean="0"/>
              <a:t>Tharma</a:t>
            </a:r>
            <a:r>
              <a:rPr lang="de-DE" dirty="0" smtClean="0"/>
              <a:t> (RD/UB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34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5933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9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400" dirty="0" err="1" smtClean="0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5159896" y="4366819"/>
            <a:ext cx="1445776" cy="8205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1" name="Foliennummernplatzhalter 9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50" name="Titel 10"/>
          <p:cNvSpPr>
            <a:spLocks noGrp="1"/>
          </p:cNvSpPr>
          <p:nvPr>
            <p:ph type="title"/>
          </p:nvPr>
        </p:nvSpPr>
        <p:spPr>
          <a:xfrm>
            <a:off x="422870" y="376536"/>
            <a:ext cx="11406187" cy="1008360"/>
          </a:xfrm>
        </p:spPr>
        <p:txBody>
          <a:bodyPr/>
          <a:lstStyle/>
          <a:p>
            <a:r>
              <a:rPr lang="de-DE" sz="2400" dirty="0" smtClean="0">
                <a:solidFill>
                  <a:srgbClr val="000000"/>
                </a:solidFill>
              </a:rPr>
              <a:t>Unterscheidung der folgenden 2 Fälle zu Trennstellen: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551384" y="1094547"/>
            <a:ext cx="273630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u="sng" dirty="0" smtClean="0"/>
              <a:t>Triviale Trennstelle </a:t>
            </a:r>
            <a:r>
              <a:rPr lang="de-DE" sz="1600" u="sng" dirty="0" smtClean="0"/>
              <a:t>:</a:t>
            </a:r>
            <a:endParaRPr lang="en-US" sz="1600" u="sng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556999" y="1484784"/>
            <a:ext cx="2592288" cy="1296144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tx1"/>
                </a:solidFill>
              </a:rPr>
              <a:t>COC</a:t>
            </a:r>
            <a:endParaRPr lang="en-US" sz="2000" dirty="0" err="1" smtClean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7968208" y="1484784"/>
            <a:ext cx="2592288" cy="1296144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tx1"/>
                </a:solidFill>
              </a:rPr>
              <a:t>MRA</a:t>
            </a:r>
            <a:endParaRPr lang="en-US" sz="2000" dirty="0" err="1" smtClean="0">
              <a:solidFill>
                <a:schemeClr val="tx1"/>
              </a:solidFill>
            </a:endParaRPr>
          </a:p>
        </p:txBody>
      </p:sp>
      <p:cxnSp>
        <p:nvCxnSpPr>
          <p:cNvPr id="17" name="Gerader Verbinder 16"/>
          <p:cNvCxnSpPr/>
          <p:nvPr/>
        </p:nvCxnSpPr>
        <p:spPr>
          <a:xfrm>
            <a:off x="3149287" y="1916832"/>
            <a:ext cx="13625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/>
          <p:cNvCxnSpPr/>
          <p:nvPr/>
        </p:nvCxnSpPr>
        <p:spPr>
          <a:xfrm>
            <a:off x="3149286" y="2348880"/>
            <a:ext cx="13625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/>
          <p:cNvCxnSpPr/>
          <p:nvPr/>
        </p:nvCxnSpPr>
        <p:spPr>
          <a:xfrm>
            <a:off x="6605672" y="1916832"/>
            <a:ext cx="13625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/>
          <p:cNvCxnSpPr/>
          <p:nvPr/>
        </p:nvCxnSpPr>
        <p:spPr>
          <a:xfrm>
            <a:off x="6605671" y="2348880"/>
            <a:ext cx="13625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5159896" y="1340768"/>
            <a:ext cx="1445776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4511824" y="1700808"/>
            <a:ext cx="1229751" cy="864096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61" name="Textfeld 60"/>
          <p:cNvSpPr txBox="1"/>
          <p:nvPr/>
        </p:nvSpPr>
        <p:spPr>
          <a:xfrm>
            <a:off x="5159895" y="1052736"/>
            <a:ext cx="8972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X18/28</a:t>
            </a:r>
            <a:endParaRPr lang="en-US" sz="1400" dirty="0" err="1" smtClean="0"/>
          </a:p>
        </p:txBody>
      </p:sp>
      <p:sp>
        <p:nvSpPr>
          <p:cNvPr id="66" name="Textfeld 65"/>
          <p:cNvSpPr txBox="1"/>
          <p:nvPr/>
        </p:nvSpPr>
        <p:spPr>
          <a:xfrm>
            <a:off x="4722775" y="2025134"/>
            <a:ext cx="4762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*1-B</a:t>
            </a:r>
            <a:endParaRPr lang="en-US" sz="1400" dirty="0" err="1" smtClean="0"/>
          </a:p>
        </p:txBody>
      </p:sp>
      <p:sp>
        <p:nvSpPr>
          <p:cNvPr id="67" name="Textfeld 66"/>
          <p:cNvSpPr txBox="1"/>
          <p:nvPr/>
        </p:nvSpPr>
        <p:spPr>
          <a:xfrm>
            <a:off x="6085311" y="2021038"/>
            <a:ext cx="4762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*1-S</a:t>
            </a:r>
            <a:endParaRPr lang="en-US" sz="1400" dirty="0" err="1" smtClean="0"/>
          </a:p>
        </p:txBody>
      </p:sp>
      <p:cxnSp>
        <p:nvCxnSpPr>
          <p:cNvPr id="23" name="Gerader Verbinder 22"/>
          <p:cNvCxnSpPr/>
          <p:nvPr/>
        </p:nvCxnSpPr>
        <p:spPr>
          <a:xfrm>
            <a:off x="5534918" y="1916832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5534918" y="2128760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/>
          <p:cNvCxnSpPr/>
          <p:nvPr/>
        </p:nvCxnSpPr>
        <p:spPr>
          <a:xfrm>
            <a:off x="5534918" y="2348880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71"/>
          <p:cNvSpPr txBox="1"/>
          <p:nvPr/>
        </p:nvSpPr>
        <p:spPr>
          <a:xfrm>
            <a:off x="5427059" y="1827849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1</a:t>
            </a:r>
            <a:endParaRPr lang="en-US" sz="1050" dirty="0" err="1" smtClean="0"/>
          </a:p>
        </p:txBody>
      </p:sp>
      <p:sp>
        <p:nvSpPr>
          <p:cNvPr id="73" name="Textfeld 72"/>
          <p:cNvSpPr txBox="1"/>
          <p:nvPr/>
        </p:nvSpPr>
        <p:spPr>
          <a:xfrm>
            <a:off x="5951069" y="1831789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1</a:t>
            </a:r>
            <a:endParaRPr lang="en-US" sz="1050" dirty="0" err="1" smtClean="0"/>
          </a:p>
        </p:txBody>
      </p:sp>
      <p:sp>
        <p:nvSpPr>
          <p:cNvPr id="74" name="Textfeld 73"/>
          <p:cNvSpPr txBox="1"/>
          <p:nvPr/>
        </p:nvSpPr>
        <p:spPr>
          <a:xfrm>
            <a:off x="5433499" y="2052064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2</a:t>
            </a:r>
            <a:endParaRPr lang="en-US" sz="1050" dirty="0" err="1" smtClean="0"/>
          </a:p>
        </p:txBody>
      </p:sp>
      <p:sp>
        <p:nvSpPr>
          <p:cNvPr id="75" name="Textfeld 74"/>
          <p:cNvSpPr txBox="1"/>
          <p:nvPr/>
        </p:nvSpPr>
        <p:spPr>
          <a:xfrm>
            <a:off x="5953766" y="2052064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2</a:t>
            </a:r>
            <a:endParaRPr lang="en-US" sz="1050" dirty="0" err="1" smtClean="0"/>
          </a:p>
        </p:txBody>
      </p:sp>
      <p:sp>
        <p:nvSpPr>
          <p:cNvPr id="76" name="Textfeld 75"/>
          <p:cNvSpPr txBox="1"/>
          <p:nvPr/>
        </p:nvSpPr>
        <p:spPr>
          <a:xfrm>
            <a:off x="5433499" y="2259896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3</a:t>
            </a:r>
            <a:endParaRPr lang="en-US" sz="1050" dirty="0" err="1" smtClean="0"/>
          </a:p>
        </p:txBody>
      </p:sp>
      <p:sp>
        <p:nvSpPr>
          <p:cNvPr id="78" name="Textfeld 77"/>
          <p:cNvSpPr txBox="1"/>
          <p:nvPr/>
        </p:nvSpPr>
        <p:spPr>
          <a:xfrm>
            <a:off x="5947454" y="2272339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3</a:t>
            </a:r>
            <a:endParaRPr lang="en-US" sz="1050" dirty="0" err="1" smtClean="0"/>
          </a:p>
        </p:txBody>
      </p:sp>
      <p:sp>
        <p:nvSpPr>
          <p:cNvPr id="79" name="Textfeld 78"/>
          <p:cNvSpPr txBox="1"/>
          <p:nvPr/>
        </p:nvSpPr>
        <p:spPr>
          <a:xfrm>
            <a:off x="545769" y="3290220"/>
            <a:ext cx="273630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u="sng" dirty="0" smtClean="0"/>
              <a:t>Nichttriviale Trennstelle :</a:t>
            </a:r>
            <a:endParaRPr lang="en-US" sz="1600" u="sng" dirty="0" err="1" smtClean="0"/>
          </a:p>
        </p:txBody>
      </p:sp>
      <p:sp>
        <p:nvSpPr>
          <p:cNvPr id="80" name="Rechteck 79"/>
          <p:cNvSpPr/>
          <p:nvPr/>
        </p:nvSpPr>
        <p:spPr>
          <a:xfrm>
            <a:off x="551384" y="3680457"/>
            <a:ext cx="2592288" cy="1296144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tx1"/>
                </a:solidFill>
              </a:rPr>
              <a:t>COC</a:t>
            </a:r>
            <a:endParaRPr lang="en-US" sz="2000" dirty="0" err="1" smtClean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7962593" y="3680457"/>
            <a:ext cx="2592288" cy="1296144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tx1"/>
                </a:solidFill>
              </a:rPr>
              <a:t>MRA</a:t>
            </a:r>
            <a:endParaRPr lang="en-US" sz="2000" dirty="0" err="1" smtClean="0">
              <a:solidFill>
                <a:schemeClr val="tx1"/>
              </a:solidFill>
            </a:endParaRPr>
          </a:p>
        </p:txBody>
      </p:sp>
      <p:cxnSp>
        <p:nvCxnSpPr>
          <p:cNvPr id="82" name="Gerader Verbinder 81"/>
          <p:cNvCxnSpPr/>
          <p:nvPr/>
        </p:nvCxnSpPr>
        <p:spPr>
          <a:xfrm>
            <a:off x="3143672" y="4112505"/>
            <a:ext cx="13625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/>
          <p:cNvCxnSpPr/>
          <p:nvPr/>
        </p:nvCxnSpPr>
        <p:spPr>
          <a:xfrm>
            <a:off x="3143671" y="4544553"/>
            <a:ext cx="13625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5159896" y="3567243"/>
            <a:ext cx="1445776" cy="7995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4506209" y="3753898"/>
            <a:ext cx="1229751" cy="114029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88" name="Textfeld 87"/>
          <p:cNvSpPr txBox="1"/>
          <p:nvPr/>
        </p:nvSpPr>
        <p:spPr>
          <a:xfrm>
            <a:off x="5154280" y="3320997"/>
            <a:ext cx="89729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X25/8</a:t>
            </a:r>
            <a:endParaRPr lang="en-US" sz="1400" dirty="0" err="1" smtClean="0"/>
          </a:p>
        </p:txBody>
      </p:sp>
      <p:sp>
        <p:nvSpPr>
          <p:cNvPr id="90" name="Textfeld 89"/>
          <p:cNvSpPr txBox="1"/>
          <p:nvPr/>
        </p:nvSpPr>
        <p:spPr>
          <a:xfrm>
            <a:off x="4717160" y="4220807"/>
            <a:ext cx="4762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*7-B</a:t>
            </a:r>
            <a:endParaRPr lang="en-US" sz="1400" dirty="0" err="1" smtClean="0"/>
          </a:p>
        </p:txBody>
      </p:sp>
      <p:sp>
        <p:nvSpPr>
          <p:cNvPr id="111" name="Textfeld 110"/>
          <p:cNvSpPr txBox="1"/>
          <p:nvPr/>
        </p:nvSpPr>
        <p:spPr>
          <a:xfrm>
            <a:off x="6176306" y="3664033"/>
            <a:ext cx="4762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*4-S</a:t>
            </a:r>
            <a:endParaRPr lang="en-US" sz="1400" dirty="0" err="1" smtClean="0"/>
          </a:p>
        </p:txBody>
      </p:sp>
      <p:sp>
        <p:nvSpPr>
          <p:cNvPr id="112" name="Textfeld 111"/>
          <p:cNvSpPr txBox="1"/>
          <p:nvPr/>
        </p:nvSpPr>
        <p:spPr>
          <a:xfrm>
            <a:off x="6219814" y="4868879"/>
            <a:ext cx="4762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*2-S</a:t>
            </a:r>
            <a:endParaRPr lang="en-US" sz="1400" dirty="0" err="1" smtClean="0"/>
          </a:p>
        </p:txBody>
      </p:sp>
      <p:cxnSp>
        <p:nvCxnSpPr>
          <p:cNvPr id="125" name="Gerader Verbinder 124"/>
          <p:cNvCxnSpPr/>
          <p:nvPr/>
        </p:nvCxnSpPr>
        <p:spPr>
          <a:xfrm>
            <a:off x="5499433" y="4002902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r Verbinder 125"/>
          <p:cNvCxnSpPr/>
          <p:nvPr/>
        </p:nvCxnSpPr>
        <p:spPr>
          <a:xfrm>
            <a:off x="5499433" y="4214830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r Verbinder 128"/>
          <p:cNvCxnSpPr/>
          <p:nvPr/>
        </p:nvCxnSpPr>
        <p:spPr>
          <a:xfrm>
            <a:off x="5499433" y="4538716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r Verbinder 129"/>
          <p:cNvCxnSpPr/>
          <p:nvPr/>
        </p:nvCxnSpPr>
        <p:spPr>
          <a:xfrm>
            <a:off x="5499433" y="4750644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feld 130"/>
          <p:cNvSpPr txBox="1"/>
          <p:nvPr/>
        </p:nvSpPr>
        <p:spPr>
          <a:xfrm>
            <a:off x="5367269" y="3928077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1</a:t>
            </a:r>
            <a:endParaRPr lang="en-US" sz="1050" dirty="0" err="1" smtClean="0"/>
          </a:p>
        </p:txBody>
      </p:sp>
      <p:sp>
        <p:nvSpPr>
          <p:cNvPr id="132" name="Textfeld 131"/>
          <p:cNvSpPr txBox="1"/>
          <p:nvPr/>
        </p:nvSpPr>
        <p:spPr>
          <a:xfrm>
            <a:off x="5891279" y="3932017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1</a:t>
            </a:r>
            <a:endParaRPr lang="en-US" sz="1050" dirty="0" err="1" smtClean="0"/>
          </a:p>
        </p:txBody>
      </p:sp>
      <p:sp>
        <p:nvSpPr>
          <p:cNvPr id="133" name="Textfeld 132"/>
          <p:cNvSpPr txBox="1"/>
          <p:nvPr/>
        </p:nvSpPr>
        <p:spPr>
          <a:xfrm>
            <a:off x="5373709" y="4152292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2</a:t>
            </a:r>
            <a:endParaRPr lang="en-US" sz="1050" dirty="0" err="1" smtClean="0"/>
          </a:p>
        </p:txBody>
      </p:sp>
      <p:sp>
        <p:nvSpPr>
          <p:cNvPr id="134" name="Textfeld 133"/>
          <p:cNvSpPr txBox="1"/>
          <p:nvPr/>
        </p:nvSpPr>
        <p:spPr>
          <a:xfrm>
            <a:off x="5893976" y="4152292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2</a:t>
            </a:r>
            <a:endParaRPr lang="en-US" sz="1050" dirty="0" err="1" smtClean="0"/>
          </a:p>
        </p:txBody>
      </p:sp>
      <p:sp>
        <p:nvSpPr>
          <p:cNvPr id="135" name="Textfeld 134"/>
          <p:cNvSpPr txBox="1"/>
          <p:nvPr/>
        </p:nvSpPr>
        <p:spPr>
          <a:xfrm>
            <a:off x="5375920" y="4465419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3</a:t>
            </a:r>
            <a:endParaRPr lang="en-US" sz="1050" dirty="0" err="1" smtClean="0"/>
          </a:p>
        </p:txBody>
      </p:sp>
      <p:sp>
        <p:nvSpPr>
          <p:cNvPr id="136" name="Textfeld 135"/>
          <p:cNvSpPr txBox="1"/>
          <p:nvPr/>
        </p:nvSpPr>
        <p:spPr>
          <a:xfrm>
            <a:off x="5879976" y="4469359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1</a:t>
            </a:r>
            <a:endParaRPr lang="en-US" sz="1050" dirty="0" err="1" smtClean="0"/>
          </a:p>
        </p:txBody>
      </p:sp>
      <p:sp>
        <p:nvSpPr>
          <p:cNvPr id="137" name="Textfeld 136"/>
          <p:cNvSpPr txBox="1"/>
          <p:nvPr/>
        </p:nvSpPr>
        <p:spPr>
          <a:xfrm>
            <a:off x="5382360" y="4689634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4</a:t>
            </a:r>
            <a:endParaRPr lang="en-US" sz="1050" dirty="0" err="1" smtClean="0"/>
          </a:p>
        </p:txBody>
      </p:sp>
      <p:sp>
        <p:nvSpPr>
          <p:cNvPr id="138" name="Textfeld 137"/>
          <p:cNvSpPr txBox="1"/>
          <p:nvPr/>
        </p:nvSpPr>
        <p:spPr>
          <a:xfrm>
            <a:off x="5882673" y="4689634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2</a:t>
            </a:r>
            <a:endParaRPr lang="en-US" sz="1050" dirty="0" err="1" smtClean="0"/>
          </a:p>
        </p:txBody>
      </p:sp>
      <p:cxnSp>
        <p:nvCxnSpPr>
          <p:cNvPr id="139" name="Gerader Verbinder 138"/>
          <p:cNvCxnSpPr/>
          <p:nvPr/>
        </p:nvCxnSpPr>
        <p:spPr>
          <a:xfrm>
            <a:off x="6600056" y="3889877"/>
            <a:ext cx="720080" cy="2937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r Verbinder 140"/>
          <p:cNvCxnSpPr/>
          <p:nvPr/>
        </p:nvCxnSpPr>
        <p:spPr>
          <a:xfrm>
            <a:off x="7320136" y="4183660"/>
            <a:ext cx="64245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r Verbinder 141"/>
          <p:cNvCxnSpPr/>
          <p:nvPr/>
        </p:nvCxnSpPr>
        <p:spPr>
          <a:xfrm>
            <a:off x="7320136" y="4615708"/>
            <a:ext cx="64245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r Verbinder 142"/>
          <p:cNvCxnSpPr/>
          <p:nvPr/>
        </p:nvCxnSpPr>
        <p:spPr>
          <a:xfrm flipV="1">
            <a:off x="6603387" y="4615708"/>
            <a:ext cx="720080" cy="2937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r Verbinder 143"/>
          <p:cNvCxnSpPr/>
          <p:nvPr/>
        </p:nvCxnSpPr>
        <p:spPr>
          <a:xfrm>
            <a:off x="6604530" y="4111652"/>
            <a:ext cx="720080" cy="2937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rader Verbinder 144"/>
          <p:cNvCxnSpPr/>
          <p:nvPr/>
        </p:nvCxnSpPr>
        <p:spPr>
          <a:xfrm flipV="1">
            <a:off x="6607861" y="4407873"/>
            <a:ext cx="720080" cy="29378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627340" y="6136217"/>
            <a:ext cx="1484884" cy="60515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6627340" y="5531211"/>
            <a:ext cx="1484884" cy="60500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3863752" y="5674756"/>
            <a:ext cx="1229751" cy="945859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149" name="Textfeld 148"/>
          <p:cNvSpPr txBox="1"/>
          <p:nvPr/>
        </p:nvSpPr>
        <p:spPr>
          <a:xfrm>
            <a:off x="4074703" y="6057301"/>
            <a:ext cx="4762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*7-B</a:t>
            </a:r>
            <a:endParaRPr lang="en-US" sz="1400" dirty="0" err="1" smtClean="0"/>
          </a:p>
        </p:txBody>
      </p:sp>
      <p:sp>
        <p:nvSpPr>
          <p:cNvPr id="150" name="Textfeld 149"/>
          <p:cNvSpPr txBox="1"/>
          <p:nvPr/>
        </p:nvSpPr>
        <p:spPr>
          <a:xfrm>
            <a:off x="7232448" y="5625253"/>
            <a:ext cx="4762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*4-S</a:t>
            </a:r>
            <a:endParaRPr lang="en-US" sz="1400" dirty="0" err="1" smtClean="0"/>
          </a:p>
        </p:txBody>
      </p:sp>
      <p:sp>
        <p:nvSpPr>
          <p:cNvPr id="151" name="Textfeld 150"/>
          <p:cNvSpPr txBox="1"/>
          <p:nvPr/>
        </p:nvSpPr>
        <p:spPr>
          <a:xfrm>
            <a:off x="7275956" y="6416761"/>
            <a:ext cx="4762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smtClean="0"/>
              <a:t>*2-S</a:t>
            </a:r>
            <a:endParaRPr lang="en-US" sz="1400" dirty="0" err="1" smtClean="0"/>
          </a:p>
        </p:txBody>
      </p:sp>
      <p:sp>
        <p:nvSpPr>
          <p:cNvPr id="33" name="Rechteck 32"/>
          <p:cNvSpPr/>
          <p:nvPr/>
        </p:nvSpPr>
        <p:spPr>
          <a:xfrm>
            <a:off x="5382360" y="5531211"/>
            <a:ext cx="1001672" cy="1210157"/>
          </a:xfrm>
          <a:prstGeom prst="rect">
            <a:avLst/>
          </a:prstGeom>
          <a:solidFill>
            <a:srgbClr val="8BC2DE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cxnSp>
        <p:nvCxnSpPr>
          <p:cNvPr id="164" name="Gerader Verbinder 163"/>
          <p:cNvCxnSpPr/>
          <p:nvPr/>
        </p:nvCxnSpPr>
        <p:spPr>
          <a:xfrm>
            <a:off x="4995945" y="5756704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r Verbinder 164"/>
          <p:cNvCxnSpPr/>
          <p:nvPr/>
        </p:nvCxnSpPr>
        <p:spPr>
          <a:xfrm>
            <a:off x="4995945" y="5968632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Gerader Verbinder 165"/>
          <p:cNvCxnSpPr/>
          <p:nvPr/>
        </p:nvCxnSpPr>
        <p:spPr>
          <a:xfrm>
            <a:off x="4995945" y="6292518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r Verbinder 166"/>
          <p:cNvCxnSpPr/>
          <p:nvPr/>
        </p:nvCxnSpPr>
        <p:spPr>
          <a:xfrm>
            <a:off x="4995945" y="6504446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feld 167"/>
          <p:cNvSpPr txBox="1"/>
          <p:nvPr/>
        </p:nvSpPr>
        <p:spPr>
          <a:xfrm>
            <a:off x="4863781" y="5681879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1</a:t>
            </a:r>
            <a:endParaRPr lang="en-US" sz="1050" dirty="0" err="1" smtClean="0"/>
          </a:p>
        </p:txBody>
      </p:sp>
      <p:sp>
        <p:nvSpPr>
          <p:cNvPr id="169" name="Textfeld 168"/>
          <p:cNvSpPr txBox="1"/>
          <p:nvPr/>
        </p:nvSpPr>
        <p:spPr>
          <a:xfrm>
            <a:off x="4870221" y="5906094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2</a:t>
            </a:r>
            <a:endParaRPr lang="en-US" sz="1050" dirty="0" err="1" smtClean="0"/>
          </a:p>
        </p:txBody>
      </p:sp>
      <p:sp>
        <p:nvSpPr>
          <p:cNvPr id="170" name="Textfeld 169"/>
          <p:cNvSpPr txBox="1"/>
          <p:nvPr/>
        </p:nvSpPr>
        <p:spPr>
          <a:xfrm>
            <a:off x="4872432" y="6219221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3</a:t>
            </a:r>
            <a:endParaRPr lang="en-US" sz="1050" dirty="0" err="1" smtClean="0"/>
          </a:p>
        </p:txBody>
      </p:sp>
      <p:sp>
        <p:nvSpPr>
          <p:cNvPr id="171" name="Textfeld 170"/>
          <p:cNvSpPr txBox="1"/>
          <p:nvPr/>
        </p:nvSpPr>
        <p:spPr>
          <a:xfrm>
            <a:off x="4878872" y="6443436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4</a:t>
            </a:r>
            <a:endParaRPr lang="en-US" sz="1050" dirty="0" err="1" smtClean="0"/>
          </a:p>
        </p:txBody>
      </p:sp>
      <p:cxnSp>
        <p:nvCxnSpPr>
          <p:cNvPr id="172" name="Gerader Verbinder 171"/>
          <p:cNvCxnSpPr/>
          <p:nvPr/>
        </p:nvCxnSpPr>
        <p:spPr>
          <a:xfrm>
            <a:off x="6381328" y="5737509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Gerader Verbinder 172"/>
          <p:cNvCxnSpPr/>
          <p:nvPr/>
        </p:nvCxnSpPr>
        <p:spPr>
          <a:xfrm>
            <a:off x="6381328" y="5949437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r Verbinder 173"/>
          <p:cNvCxnSpPr/>
          <p:nvPr/>
        </p:nvCxnSpPr>
        <p:spPr>
          <a:xfrm>
            <a:off x="6381328" y="6273323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Gerader Verbinder 174"/>
          <p:cNvCxnSpPr/>
          <p:nvPr/>
        </p:nvCxnSpPr>
        <p:spPr>
          <a:xfrm>
            <a:off x="6381328" y="6485251"/>
            <a:ext cx="383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Textfeld 175"/>
          <p:cNvSpPr txBox="1"/>
          <p:nvPr/>
        </p:nvSpPr>
        <p:spPr>
          <a:xfrm>
            <a:off x="6773174" y="5666624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1</a:t>
            </a:r>
            <a:endParaRPr lang="en-US" sz="1050" dirty="0" err="1" smtClean="0"/>
          </a:p>
        </p:txBody>
      </p:sp>
      <p:sp>
        <p:nvSpPr>
          <p:cNvPr id="177" name="Textfeld 176"/>
          <p:cNvSpPr txBox="1"/>
          <p:nvPr/>
        </p:nvSpPr>
        <p:spPr>
          <a:xfrm>
            <a:off x="6775871" y="5886899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2</a:t>
            </a:r>
            <a:endParaRPr lang="en-US" sz="1050" dirty="0" err="1" smtClean="0"/>
          </a:p>
        </p:txBody>
      </p:sp>
      <p:sp>
        <p:nvSpPr>
          <p:cNvPr id="178" name="Textfeld 177"/>
          <p:cNvSpPr txBox="1"/>
          <p:nvPr/>
        </p:nvSpPr>
        <p:spPr>
          <a:xfrm>
            <a:off x="6761871" y="6203966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1</a:t>
            </a:r>
            <a:endParaRPr lang="en-US" sz="1050" dirty="0" err="1" smtClean="0"/>
          </a:p>
        </p:txBody>
      </p:sp>
      <p:sp>
        <p:nvSpPr>
          <p:cNvPr id="179" name="Textfeld 178"/>
          <p:cNvSpPr txBox="1"/>
          <p:nvPr/>
        </p:nvSpPr>
        <p:spPr>
          <a:xfrm>
            <a:off x="6764568" y="6424241"/>
            <a:ext cx="3145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 smtClean="0"/>
              <a:t>2</a:t>
            </a:r>
            <a:endParaRPr lang="en-US" sz="1050" dirty="0" err="1" smtClean="0"/>
          </a:p>
        </p:txBody>
      </p:sp>
      <p:sp>
        <p:nvSpPr>
          <p:cNvPr id="180" name="Textfeld 179"/>
          <p:cNvSpPr txBox="1"/>
          <p:nvPr/>
        </p:nvSpPr>
        <p:spPr>
          <a:xfrm>
            <a:off x="5387791" y="5627575"/>
            <a:ext cx="990473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 smtClean="0"/>
              <a:t>Transport der Pinning-informationen in Klasse „Component_Box“</a:t>
            </a:r>
          </a:p>
          <a:p>
            <a:pPr algn="ctr"/>
            <a:endParaRPr lang="de-DE" sz="1000" dirty="0"/>
          </a:p>
          <a:p>
            <a:pPr algn="ctr"/>
            <a:r>
              <a:rPr lang="de-DE" sz="1000" dirty="0" smtClean="0"/>
              <a:t>(Input Connect)</a:t>
            </a:r>
            <a:endParaRPr lang="en-US" sz="1000" dirty="0" smtClean="0"/>
          </a:p>
        </p:txBody>
      </p:sp>
      <p:cxnSp>
        <p:nvCxnSpPr>
          <p:cNvPr id="36" name="Gerader Verbinder 35"/>
          <p:cNvCxnSpPr/>
          <p:nvPr/>
        </p:nvCxnSpPr>
        <p:spPr>
          <a:xfrm>
            <a:off x="3175" y="3068960"/>
            <a:ext cx="12188825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Abgerundetes Rechteck 37"/>
          <p:cNvSpPr/>
          <p:nvPr/>
        </p:nvSpPr>
        <p:spPr>
          <a:xfrm>
            <a:off x="3647728" y="5445224"/>
            <a:ext cx="4680520" cy="1401778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938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017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000" dirty="0" err="1" smtClean="0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1" name="Foliennummernplatzhalter 9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50" name="Titel 10"/>
          <p:cNvSpPr>
            <a:spLocks noGrp="1"/>
          </p:cNvSpPr>
          <p:nvPr>
            <p:ph type="title"/>
          </p:nvPr>
        </p:nvSpPr>
        <p:spPr>
          <a:xfrm>
            <a:off x="422870" y="376536"/>
            <a:ext cx="11406187" cy="1008360"/>
          </a:xfrm>
        </p:spPr>
        <p:txBody>
          <a:bodyPr/>
          <a:lstStyle/>
          <a:p>
            <a:r>
              <a:rPr lang="de-DE" sz="2400" dirty="0" smtClean="0">
                <a:solidFill>
                  <a:srgbClr val="000000"/>
                </a:solidFill>
              </a:rPr>
              <a:t>Methode für LS-übergreifende </a:t>
            </a:r>
            <a:r>
              <a:rPr lang="de-DE" sz="2400" dirty="0" err="1" smtClean="0">
                <a:solidFill>
                  <a:srgbClr val="000000"/>
                </a:solidFill>
              </a:rPr>
              <a:t>Merge</a:t>
            </a:r>
            <a:r>
              <a:rPr lang="de-DE" sz="2400" dirty="0" smtClean="0">
                <a:solidFill>
                  <a:srgbClr val="000000"/>
                </a:solidFill>
              </a:rPr>
              <a:t>-Funktion</a:t>
            </a:r>
            <a:br>
              <a:rPr lang="de-DE" sz="2400" dirty="0" smtClean="0">
                <a:solidFill>
                  <a:srgbClr val="000000"/>
                </a:solidFill>
              </a:rPr>
            </a:br>
            <a:r>
              <a:rPr lang="de-DE" sz="2000" dirty="0" smtClean="0">
                <a:solidFill>
                  <a:schemeClr val="accent4"/>
                </a:solidFill>
              </a:rPr>
              <a:t>Fall: Nichttriviale Trennstelle</a:t>
            </a:r>
            <a:endParaRPr lang="de-DE" sz="2800" dirty="0">
              <a:solidFill>
                <a:schemeClr val="accent4"/>
              </a:solidFill>
            </a:endParaRPr>
          </a:p>
        </p:txBody>
      </p:sp>
      <p:sp>
        <p:nvSpPr>
          <p:cNvPr id="84" name="Textfeld 83"/>
          <p:cNvSpPr txBox="1"/>
          <p:nvPr/>
        </p:nvSpPr>
        <p:spPr>
          <a:xfrm>
            <a:off x="479375" y="1454587"/>
            <a:ext cx="113286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u="sng" dirty="0" smtClean="0"/>
              <a:t>Wie sind die </a:t>
            </a:r>
            <a:r>
              <a:rPr lang="de-DE" sz="1600" u="sng" dirty="0" err="1" smtClean="0"/>
              <a:t>Pinning</a:t>
            </a:r>
            <a:r>
              <a:rPr lang="de-DE" sz="1600" u="sng" dirty="0" smtClean="0"/>
              <a:t>-Informationen in CONNECT angelegt?</a:t>
            </a:r>
          </a:p>
          <a:p>
            <a:endParaRPr lang="de-DE" sz="1600" dirty="0" err="1"/>
          </a:p>
        </p:txBody>
      </p:sp>
      <p:pic>
        <p:nvPicPr>
          <p:cNvPr id="17" name="Grafik 16"/>
          <p:cNvPicPr/>
          <p:nvPr/>
        </p:nvPicPr>
        <p:blipFill>
          <a:blip r:embed="rId8"/>
          <a:stretch>
            <a:fillRect/>
          </a:stretch>
        </p:blipFill>
        <p:spPr>
          <a:xfrm>
            <a:off x="479375" y="1928824"/>
            <a:ext cx="5972810" cy="3970655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3" name="Gruppieren 2"/>
          <p:cNvGrpSpPr/>
          <p:nvPr/>
        </p:nvGrpSpPr>
        <p:grpSpPr>
          <a:xfrm>
            <a:off x="7667534" y="2320627"/>
            <a:ext cx="3808061" cy="3398663"/>
            <a:chOff x="7867487" y="2234281"/>
            <a:chExt cx="3808061" cy="3398663"/>
          </a:xfrm>
        </p:grpSpPr>
        <p:sp>
          <p:nvSpPr>
            <p:cNvPr id="100" name="Rechteck 99"/>
            <p:cNvSpPr/>
            <p:nvPr/>
          </p:nvSpPr>
          <p:spPr>
            <a:xfrm>
              <a:off x="7867487" y="3212976"/>
              <a:ext cx="1060450" cy="1800200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Rechteck 100"/>
            <p:cNvSpPr/>
            <p:nvPr/>
          </p:nvSpPr>
          <p:spPr>
            <a:xfrm>
              <a:off x="7877857" y="2263496"/>
              <a:ext cx="1060450" cy="865481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7877857" y="5081763"/>
              <a:ext cx="1060450" cy="551180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Rechteck 102"/>
            <p:cNvSpPr/>
            <p:nvPr/>
          </p:nvSpPr>
          <p:spPr>
            <a:xfrm>
              <a:off x="10632878" y="2248569"/>
              <a:ext cx="1042670" cy="3384375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04" name="Gerader Verbinder 103"/>
            <p:cNvCxnSpPr/>
            <p:nvPr/>
          </p:nvCxnSpPr>
          <p:spPr>
            <a:xfrm>
              <a:off x="8938307" y="3356992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05" name="Gerader Verbinder 104"/>
            <p:cNvCxnSpPr/>
            <p:nvPr/>
          </p:nvCxnSpPr>
          <p:spPr>
            <a:xfrm>
              <a:off x="8938307" y="3569717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06" name="Gerader Verbinder 105"/>
            <p:cNvCxnSpPr/>
            <p:nvPr/>
          </p:nvCxnSpPr>
          <p:spPr>
            <a:xfrm>
              <a:off x="8938307" y="3993072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07" name="Gerader Verbinder 106"/>
            <p:cNvCxnSpPr/>
            <p:nvPr/>
          </p:nvCxnSpPr>
          <p:spPr>
            <a:xfrm>
              <a:off x="8938307" y="4209096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08" name="Gerader Verbinder 107"/>
            <p:cNvCxnSpPr/>
            <p:nvPr/>
          </p:nvCxnSpPr>
          <p:spPr>
            <a:xfrm>
              <a:off x="8938307" y="4425120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09" name="Gerader Verbinder 108"/>
            <p:cNvCxnSpPr/>
            <p:nvPr/>
          </p:nvCxnSpPr>
          <p:spPr>
            <a:xfrm>
              <a:off x="8938307" y="4641144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10" name="Gerader Verbinder 109"/>
            <p:cNvCxnSpPr/>
            <p:nvPr/>
          </p:nvCxnSpPr>
          <p:spPr>
            <a:xfrm>
              <a:off x="8938307" y="3777048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sp>
          <p:nvSpPr>
            <p:cNvPr id="111" name="Text Box 2"/>
            <p:cNvSpPr txBox="1">
              <a:spLocks noChangeArrowheads="1"/>
            </p:cNvSpPr>
            <p:nvPr/>
          </p:nvSpPr>
          <p:spPr bwMode="auto">
            <a:xfrm>
              <a:off x="11017435" y="3911916"/>
              <a:ext cx="586105" cy="25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DE" sz="1200" b="1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*1-B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13" name="Gerader Verbinder 112"/>
            <p:cNvCxnSpPr/>
            <p:nvPr/>
          </p:nvCxnSpPr>
          <p:spPr>
            <a:xfrm>
              <a:off x="8938307" y="4857168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14" name="Gerader Verbinder 113"/>
            <p:cNvCxnSpPr/>
            <p:nvPr/>
          </p:nvCxnSpPr>
          <p:spPr>
            <a:xfrm>
              <a:off x="8938307" y="2576895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15" name="Gerader Verbinder 114"/>
            <p:cNvCxnSpPr/>
            <p:nvPr/>
          </p:nvCxnSpPr>
          <p:spPr>
            <a:xfrm>
              <a:off x="8938307" y="2792919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16" name="Gerader Verbinder 115"/>
            <p:cNvCxnSpPr/>
            <p:nvPr/>
          </p:nvCxnSpPr>
          <p:spPr>
            <a:xfrm>
              <a:off x="8938307" y="3008943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17" name="Gerader Verbinder 116"/>
            <p:cNvCxnSpPr/>
            <p:nvPr/>
          </p:nvCxnSpPr>
          <p:spPr>
            <a:xfrm>
              <a:off x="8938307" y="5200897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18" name="Gerader Verbinder 117"/>
            <p:cNvCxnSpPr/>
            <p:nvPr/>
          </p:nvCxnSpPr>
          <p:spPr>
            <a:xfrm>
              <a:off x="8938307" y="2360871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119" name="Gerader Verbinder 118"/>
            <p:cNvCxnSpPr/>
            <p:nvPr/>
          </p:nvCxnSpPr>
          <p:spPr>
            <a:xfrm>
              <a:off x="8938307" y="5416921"/>
              <a:ext cx="1699895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sp>
          <p:nvSpPr>
            <p:cNvPr id="120" name="Text Box 2"/>
            <p:cNvSpPr txBox="1">
              <a:spLocks noChangeArrowheads="1"/>
            </p:cNvSpPr>
            <p:nvPr/>
          </p:nvSpPr>
          <p:spPr bwMode="auto">
            <a:xfrm>
              <a:off x="8003140" y="4063679"/>
              <a:ext cx="586105" cy="25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DE" sz="1200" b="1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*1-S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1" name="Text Box 2"/>
            <p:cNvSpPr txBox="1">
              <a:spLocks noChangeArrowheads="1"/>
            </p:cNvSpPr>
            <p:nvPr/>
          </p:nvSpPr>
          <p:spPr bwMode="auto">
            <a:xfrm>
              <a:off x="8003140" y="2557990"/>
              <a:ext cx="586105" cy="25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DE" sz="1200" b="1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*1a-S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2" name="Text Box 2"/>
            <p:cNvSpPr txBox="1">
              <a:spLocks noChangeArrowheads="1"/>
            </p:cNvSpPr>
            <p:nvPr/>
          </p:nvSpPr>
          <p:spPr bwMode="auto">
            <a:xfrm>
              <a:off x="8006560" y="5175530"/>
              <a:ext cx="586105" cy="25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DE" sz="1200" b="1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*1b-S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3" name="Text Box 2"/>
            <p:cNvSpPr txBox="1">
              <a:spLocks noChangeArrowheads="1"/>
            </p:cNvSpPr>
            <p:nvPr/>
          </p:nvSpPr>
          <p:spPr bwMode="auto">
            <a:xfrm>
              <a:off x="8565573" y="3221547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5/8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4" name="Text Box 2"/>
            <p:cNvSpPr txBox="1">
              <a:spLocks noChangeArrowheads="1"/>
            </p:cNvSpPr>
            <p:nvPr/>
          </p:nvSpPr>
          <p:spPr bwMode="auto">
            <a:xfrm>
              <a:off x="8565572" y="3444824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6/8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5" name="Text Box 2"/>
            <p:cNvSpPr txBox="1">
              <a:spLocks noChangeArrowheads="1"/>
            </p:cNvSpPr>
            <p:nvPr/>
          </p:nvSpPr>
          <p:spPr bwMode="auto">
            <a:xfrm>
              <a:off x="8565571" y="3658603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7/8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6" name="Text Box 2"/>
            <p:cNvSpPr txBox="1">
              <a:spLocks noChangeArrowheads="1"/>
            </p:cNvSpPr>
            <p:nvPr/>
          </p:nvSpPr>
          <p:spPr bwMode="auto">
            <a:xfrm>
              <a:off x="8565281" y="3857744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8/8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7" name="Text Box 2"/>
            <p:cNvSpPr txBox="1">
              <a:spLocks noChangeArrowheads="1"/>
            </p:cNvSpPr>
            <p:nvPr/>
          </p:nvSpPr>
          <p:spPr bwMode="auto">
            <a:xfrm>
              <a:off x="8562199" y="4077072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9/8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8" name="Text Box 2"/>
            <p:cNvSpPr txBox="1">
              <a:spLocks noChangeArrowheads="1"/>
            </p:cNvSpPr>
            <p:nvPr/>
          </p:nvSpPr>
          <p:spPr bwMode="auto">
            <a:xfrm>
              <a:off x="8501671" y="4297102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0/8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9" name="Text Box 2"/>
            <p:cNvSpPr txBox="1">
              <a:spLocks noChangeArrowheads="1"/>
            </p:cNvSpPr>
            <p:nvPr/>
          </p:nvSpPr>
          <p:spPr bwMode="auto">
            <a:xfrm>
              <a:off x="8501671" y="4512266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1/8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0" name="Text Box 2"/>
            <p:cNvSpPr txBox="1">
              <a:spLocks noChangeArrowheads="1"/>
            </p:cNvSpPr>
            <p:nvPr/>
          </p:nvSpPr>
          <p:spPr bwMode="auto">
            <a:xfrm>
              <a:off x="8501671" y="4719615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2/8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1" name="Text Box 2"/>
            <p:cNvSpPr txBox="1">
              <a:spLocks noChangeArrowheads="1"/>
            </p:cNvSpPr>
            <p:nvPr/>
          </p:nvSpPr>
          <p:spPr bwMode="auto">
            <a:xfrm>
              <a:off x="8688290" y="2242852"/>
              <a:ext cx="213875" cy="259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2" name="Text Box 2"/>
            <p:cNvSpPr txBox="1">
              <a:spLocks noChangeArrowheads="1"/>
            </p:cNvSpPr>
            <p:nvPr/>
          </p:nvSpPr>
          <p:spPr bwMode="auto">
            <a:xfrm>
              <a:off x="8686456" y="2450278"/>
              <a:ext cx="213876" cy="237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3" name="Text Box 2"/>
            <p:cNvSpPr txBox="1">
              <a:spLocks noChangeArrowheads="1"/>
            </p:cNvSpPr>
            <p:nvPr/>
          </p:nvSpPr>
          <p:spPr bwMode="auto">
            <a:xfrm>
              <a:off x="8684623" y="2648903"/>
              <a:ext cx="213877" cy="243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4" name="Text Box 2"/>
            <p:cNvSpPr txBox="1">
              <a:spLocks noChangeArrowheads="1"/>
            </p:cNvSpPr>
            <p:nvPr/>
          </p:nvSpPr>
          <p:spPr bwMode="auto">
            <a:xfrm>
              <a:off x="8682791" y="2861782"/>
              <a:ext cx="214167" cy="259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4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5" name="Text Box 2"/>
            <p:cNvSpPr txBox="1">
              <a:spLocks noChangeArrowheads="1"/>
            </p:cNvSpPr>
            <p:nvPr/>
          </p:nvSpPr>
          <p:spPr bwMode="auto">
            <a:xfrm>
              <a:off x="8506380" y="5061580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3/2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6" name="Text Box 2"/>
            <p:cNvSpPr txBox="1">
              <a:spLocks noChangeArrowheads="1"/>
            </p:cNvSpPr>
            <p:nvPr/>
          </p:nvSpPr>
          <p:spPr bwMode="auto">
            <a:xfrm>
              <a:off x="8506380" y="5268929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4/2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7" name="Text Box 2"/>
            <p:cNvSpPr txBox="1">
              <a:spLocks noChangeArrowheads="1"/>
            </p:cNvSpPr>
            <p:nvPr/>
          </p:nvSpPr>
          <p:spPr bwMode="auto">
            <a:xfrm>
              <a:off x="10622689" y="3140968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5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8" name="Text Box 2"/>
            <p:cNvSpPr txBox="1">
              <a:spLocks noChangeArrowheads="1"/>
            </p:cNvSpPr>
            <p:nvPr/>
          </p:nvSpPr>
          <p:spPr bwMode="auto">
            <a:xfrm>
              <a:off x="10622688" y="3364245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6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9" name="Text Box 2"/>
            <p:cNvSpPr txBox="1">
              <a:spLocks noChangeArrowheads="1"/>
            </p:cNvSpPr>
            <p:nvPr/>
          </p:nvSpPr>
          <p:spPr bwMode="auto">
            <a:xfrm>
              <a:off x="10622687" y="3578024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7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0" name="Text Box 2"/>
            <p:cNvSpPr txBox="1">
              <a:spLocks noChangeArrowheads="1"/>
            </p:cNvSpPr>
            <p:nvPr/>
          </p:nvSpPr>
          <p:spPr bwMode="auto">
            <a:xfrm>
              <a:off x="10622397" y="3777165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8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1" name="Text Box 2"/>
            <p:cNvSpPr txBox="1">
              <a:spLocks noChangeArrowheads="1"/>
            </p:cNvSpPr>
            <p:nvPr/>
          </p:nvSpPr>
          <p:spPr bwMode="auto">
            <a:xfrm>
              <a:off x="10619315" y="3996493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9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2" name="Text Box 2"/>
            <p:cNvSpPr txBox="1">
              <a:spLocks noChangeArrowheads="1"/>
            </p:cNvSpPr>
            <p:nvPr/>
          </p:nvSpPr>
          <p:spPr bwMode="auto">
            <a:xfrm>
              <a:off x="10622689" y="4216523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0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3" name="Text Box 2"/>
            <p:cNvSpPr txBox="1">
              <a:spLocks noChangeArrowheads="1"/>
            </p:cNvSpPr>
            <p:nvPr/>
          </p:nvSpPr>
          <p:spPr bwMode="auto">
            <a:xfrm>
              <a:off x="10622689" y="4431687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1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4" name="Text Box 2"/>
            <p:cNvSpPr txBox="1">
              <a:spLocks noChangeArrowheads="1"/>
            </p:cNvSpPr>
            <p:nvPr/>
          </p:nvSpPr>
          <p:spPr bwMode="auto">
            <a:xfrm>
              <a:off x="10622689" y="4639036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2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5" name="Text Box 2"/>
            <p:cNvSpPr txBox="1">
              <a:spLocks noChangeArrowheads="1"/>
            </p:cNvSpPr>
            <p:nvPr/>
          </p:nvSpPr>
          <p:spPr bwMode="auto">
            <a:xfrm>
              <a:off x="10638003" y="2234281"/>
              <a:ext cx="213875" cy="259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6" name="Text Box 2"/>
            <p:cNvSpPr txBox="1">
              <a:spLocks noChangeArrowheads="1"/>
            </p:cNvSpPr>
            <p:nvPr/>
          </p:nvSpPr>
          <p:spPr bwMode="auto">
            <a:xfrm>
              <a:off x="10636169" y="2441707"/>
              <a:ext cx="213876" cy="237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7" name="Text Box 2"/>
            <p:cNvSpPr txBox="1">
              <a:spLocks noChangeArrowheads="1"/>
            </p:cNvSpPr>
            <p:nvPr/>
          </p:nvSpPr>
          <p:spPr bwMode="auto">
            <a:xfrm>
              <a:off x="10634336" y="2640332"/>
              <a:ext cx="213877" cy="243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8" name="Text Box 2"/>
            <p:cNvSpPr txBox="1">
              <a:spLocks noChangeArrowheads="1"/>
            </p:cNvSpPr>
            <p:nvPr/>
          </p:nvSpPr>
          <p:spPr bwMode="auto">
            <a:xfrm>
              <a:off x="10632504" y="2853211"/>
              <a:ext cx="214167" cy="259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4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49" name="Text Box 2"/>
            <p:cNvSpPr txBox="1">
              <a:spLocks noChangeArrowheads="1"/>
            </p:cNvSpPr>
            <p:nvPr/>
          </p:nvSpPr>
          <p:spPr bwMode="auto">
            <a:xfrm>
              <a:off x="10622689" y="5053009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3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50" name="Text Box 2"/>
            <p:cNvSpPr txBox="1">
              <a:spLocks noChangeArrowheads="1"/>
            </p:cNvSpPr>
            <p:nvPr/>
          </p:nvSpPr>
          <p:spPr bwMode="auto">
            <a:xfrm>
              <a:off x="10622689" y="5260358"/>
              <a:ext cx="548803" cy="243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4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52" name="Rechteck 151"/>
          <p:cNvSpPr/>
          <p:nvPr/>
        </p:nvSpPr>
        <p:spPr>
          <a:xfrm>
            <a:off x="556282" y="2910441"/>
            <a:ext cx="2155341" cy="1608925"/>
          </a:xfrm>
          <a:prstGeom prst="rect">
            <a:avLst/>
          </a:prstGeom>
          <a:noFill/>
          <a:ln w="190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55347" y="4519366"/>
            <a:ext cx="2156276" cy="850172"/>
          </a:xfrm>
          <a:prstGeom prst="rect">
            <a:avLst/>
          </a:prstGeom>
          <a:noFill/>
          <a:ln w="1905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553111" y="5362376"/>
            <a:ext cx="2158512" cy="481399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3465780" y="2901924"/>
            <a:ext cx="1982148" cy="2941851"/>
          </a:xfrm>
          <a:prstGeom prst="rect">
            <a:avLst/>
          </a:prstGeom>
          <a:noFill/>
          <a:ln w="1905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feil nach links 4"/>
          <p:cNvSpPr/>
          <p:nvPr/>
        </p:nvSpPr>
        <p:spPr>
          <a:xfrm flipH="1">
            <a:off x="6686287" y="3989965"/>
            <a:ext cx="720080" cy="385186"/>
          </a:xfrm>
          <a:prstGeom prst="leftArrow">
            <a:avLst/>
          </a:prstGeom>
          <a:solidFill>
            <a:schemeClr val="bg2"/>
          </a:solidFill>
          <a:ln w="19050">
            <a:solidFill>
              <a:srgbClr val="9E9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68" name="Text Box 2"/>
          <p:cNvSpPr txBox="1">
            <a:spLocks noChangeArrowheads="1"/>
          </p:cNvSpPr>
          <p:nvPr/>
        </p:nvSpPr>
        <p:spPr bwMode="auto">
          <a:xfrm>
            <a:off x="7779450" y="1916833"/>
            <a:ext cx="1103341" cy="258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28/30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9" name="Text Box 2"/>
          <p:cNvSpPr txBox="1">
            <a:spLocks noChangeArrowheads="1"/>
          </p:cNvSpPr>
          <p:nvPr/>
        </p:nvSpPr>
        <p:spPr bwMode="auto">
          <a:xfrm>
            <a:off x="10558863" y="1916832"/>
            <a:ext cx="1103341" cy="258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28/30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670720" y="6243207"/>
            <a:ext cx="11521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000" dirty="0" smtClean="0">
                <a:solidFill>
                  <a:srgbClr val="C00000"/>
                </a:solidFill>
                <a:sym typeface="Wingdings" panose="05000000000000000000" pitchFamily="2" charset="2"/>
              </a:rPr>
              <a:t> Wie für diesen Fall ein möglicher </a:t>
            </a:r>
            <a:r>
              <a:rPr lang="de-DE" sz="2000" i="1" dirty="0" smtClean="0">
                <a:solidFill>
                  <a:srgbClr val="C00000"/>
                </a:solidFill>
                <a:sym typeface="Wingdings" panose="05000000000000000000" pitchFamily="2" charset="2"/>
              </a:rPr>
              <a:t>Sicherungsbox-KBL Export </a:t>
            </a:r>
            <a:r>
              <a:rPr lang="de-DE" sz="2000" dirty="0" smtClean="0">
                <a:solidFill>
                  <a:srgbClr val="C00000"/>
                </a:solidFill>
                <a:sym typeface="Wingdings" panose="05000000000000000000" pitchFamily="2" charset="2"/>
              </a:rPr>
              <a:t>aus CONNECT aussehen kann, im Anhang.</a:t>
            </a:r>
            <a:endParaRPr lang="en-US" sz="2000" dirty="0" err="1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250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163973" y="2571107"/>
            <a:ext cx="2618155" cy="4170261"/>
            <a:chOff x="2163973" y="2571107"/>
            <a:chExt cx="2618155" cy="4170261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2533939" y="2571107"/>
              <a:ext cx="2049893" cy="3687583"/>
              <a:chOff x="1366515" y="2564904"/>
              <a:chExt cx="2049893" cy="3687583"/>
            </a:xfrm>
          </p:grpSpPr>
          <p:sp>
            <p:nvSpPr>
              <p:cNvPr id="12" name="Rechteck 11"/>
              <p:cNvSpPr/>
              <p:nvPr/>
            </p:nvSpPr>
            <p:spPr>
              <a:xfrm>
                <a:off x="1602701" y="2564905"/>
                <a:ext cx="1519099" cy="3687582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1" name="Gruppieren 10"/>
              <p:cNvGrpSpPr/>
              <p:nvPr/>
            </p:nvGrpSpPr>
            <p:grpSpPr>
              <a:xfrm>
                <a:off x="3103772" y="2564905"/>
                <a:ext cx="312636" cy="3687582"/>
                <a:chOff x="4474044" y="2610435"/>
                <a:chExt cx="312636" cy="3650641"/>
              </a:xfrm>
              <a:solidFill>
                <a:srgbClr val="0082E6"/>
              </a:solidFill>
            </p:grpSpPr>
            <p:sp>
              <p:nvSpPr>
                <p:cNvPr id="8" name="Rechteck 7"/>
                <p:cNvSpPr/>
                <p:nvPr/>
              </p:nvSpPr>
              <p:spPr>
                <a:xfrm>
                  <a:off x="4474044" y="2610435"/>
                  <a:ext cx="108000" cy="3650641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" name="Rechteck 9"/>
                <p:cNvSpPr/>
                <p:nvPr/>
              </p:nvSpPr>
              <p:spPr>
                <a:xfrm>
                  <a:off x="4492072" y="2610435"/>
                  <a:ext cx="294608" cy="10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5" name="Rechteck 74"/>
                <p:cNvSpPr/>
                <p:nvPr/>
              </p:nvSpPr>
              <p:spPr>
                <a:xfrm>
                  <a:off x="4476521" y="6153076"/>
                  <a:ext cx="294608" cy="10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77" name="Gruppieren 76"/>
              <p:cNvGrpSpPr/>
              <p:nvPr/>
            </p:nvGrpSpPr>
            <p:grpSpPr>
              <a:xfrm flipH="1">
                <a:off x="1370762" y="5567390"/>
                <a:ext cx="296309" cy="669922"/>
                <a:chOff x="4492072" y="5555154"/>
                <a:chExt cx="296309" cy="669922"/>
              </a:xfrm>
              <a:solidFill>
                <a:srgbClr val="FFC000"/>
              </a:solidFill>
            </p:grpSpPr>
            <p:sp>
              <p:nvSpPr>
                <p:cNvPr id="78" name="Rechteck 77"/>
                <p:cNvSpPr/>
                <p:nvPr/>
              </p:nvSpPr>
              <p:spPr>
                <a:xfrm>
                  <a:off x="4492924" y="5606310"/>
                  <a:ext cx="65455" cy="59690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9" name="Rechteck 78"/>
                <p:cNvSpPr/>
                <p:nvPr/>
              </p:nvSpPr>
              <p:spPr>
                <a:xfrm>
                  <a:off x="4492072" y="5555154"/>
                  <a:ext cx="294608" cy="72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0" name="Rechteck 79"/>
                <p:cNvSpPr/>
                <p:nvPr/>
              </p:nvSpPr>
              <p:spPr>
                <a:xfrm>
                  <a:off x="4493773" y="6153076"/>
                  <a:ext cx="294608" cy="72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81" name="Gruppieren 80"/>
              <p:cNvGrpSpPr/>
              <p:nvPr/>
            </p:nvGrpSpPr>
            <p:grpSpPr>
              <a:xfrm flipH="1">
                <a:off x="1366515" y="2564904"/>
                <a:ext cx="296309" cy="1049764"/>
                <a:chOff x="4492072" y="5555154"/>
                <a:chExt cx="296309" cy="669922"/>
              </a:xfrm>
              <a:solidFill>
                <a:srgbClr val="FF0000"/>
              </a:solidFill>
            </p:grpSpPr>
            <p:sp>
              <p:nvSpPr>
                <p:cNvPr id="82" name="Rechteck 81"/>
                <p:cNvSpPr/>
                <p:nvPr/>
              </p:nvSpPr>
              <p:spPr>
                <a:xfrm>
                  <a:off x="4492924" y="5606310"/>
                  <a:ext cx="65455" cy="59690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3" name="Rechteck 82"/>
                <p:cNvSpPr/>
                <p:nvPr/>
              </p:nvSpPr>
              <p:spPr>
                <a:xfrm>
                  <a:off x="4492072" y="5555154"/>
                  <a:ext cx="294608" cy="72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5" name="Rechteck 84"/>
                <p:cNvSpPr/>
                <p:nvPr/>
              </p:nvSpPr>
              <p:spPr>
                <a:xfrm>
                  <a:off x="4493773" y="6153076"/>
                  <a:ext cx="294608" cy="72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86" name="Gruppieren 85"/>
              <p:cNvGrpSpPr/>
              <p:nvPr/>
            </p:nvGrpSpPr>
            <p:grpSpPr>
              <a:xfrm flipH="1">
                <a:off x="1372699" y="3616146"/>
                <a:ext cx="296309" cy="1956460"/>
                <a:chOff x="4492072" y="5574359"/>
                <a:chExt cx="296309" cy="631510"/>
              </a:xfrm>
              <a:solidFill>
                <a:srgbClr val="00B050"/>
              </a:solidFill>
            </p:grpSpPr>
            <p:sp>
              <p:nvSpPr>
                <p:cNvPr id="87" name="Rechteck 86"/>
                <p:cNvSpPr/>
                <p:nvPr/>
              </p:nvSpPr>
              <p:spPr>
                <a:xfrm>
                  <a:off x="4492924" y="5606310"/>
                  <a:ext cx="65455" cy="59690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8" name="Rechteck 87"/>
                <p:cNvSpPr/>
                <p:nvPr/>
              </p:nvSpPr>
              <p:spPr>
                <a:xfrm>
                  <a:off x="4492072" y="5574359"/>
                  <a:ext cx="294608" cy="335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9" name="Rechteck 88"/>
                <p:cNvSpPr/>
                <p:nvPr/>
              </p:nvSpPr>
              <p:spPr>
                <a:xfrm>
                  <a:off x="4493773" y="6172281"/>
                  <a:ext cx="294608" cy="335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rgbClr val="FFFFFF"/>
                    </a:solidFill>
                  </a:endParaRPr>
                </a:p>
              </p:txBody>
            </p:sp>
          </p:grpSp>
        </p:grpSp>
        <p:sp>
          <p:nvSpPr>
            <p:cNvPr id="14" name="Textfeld 13"/>
            <p:cNvSpPr txBox="1"/>
            <p:nvPr/>
          </p:nvSpPr>
          <p:spPr>
            <a:xfrm>
              <a:off x="2542072" y="6433591"/>
              <a:ext cx="203872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2000" dirty="0" err="1" smtClean="0"/>
                <a:t>Component_box</a:t>
              </a:r>
              <a:endParaRPr lang="de-DE" sz="2000" dirty="0" smtClean="0"/>
            </a:p>
          </p:txBody>
        </p:sp>
        <p:sp>
          <p:nvSpPr>
            <p:cNvPr id="15" name="Textfeld 14"/>
            <p:cNvSpPr txBox="1"/>
            <p:nvPr/>
          </p:nvSpPr>
          <p:spPr>
            <a:xfrm rot="16200000">
              <a:off x="4173957" y="4543811"/>
              <a:ext cx="103167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>
                  <a:solidFill>
                    <a:srgbClr val="0082E6"/>
                  </a:solidFill>
                </a:rPr>
                <a:t>X28/30*1-S</a:t>
              </a:r>
            </a:p>
          </p:txBody>
        </p:sp>
        <p:sp>
          <p:nvSpPr>
            <p:cNvPr id="93" name="Textfeld 92"/>
            <p:cNvSpPr txBox="1"/>
            <p:nvPr/>
          </p:nvSpPr>
          <p:spPr>
            <a:xfrm rot="16200000">
              <a:off x="1783189" y="3009420"/>
              <a:ext cx="103167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>
                  <a:solidFill>
                    <a:srgbClr val="FF0000"/>
                  </a:solidFill>
                </a:rPr>
                <a:t>X28/30*1a-B</a:t>
              </a:r>
            </a:p>
          </p:txBody>
        </p:sp>
        <p:sp>
          <p:nvSpPr>
            <p:cNvPr id="94" name="Textfeld 93"/>
            <p:cNvSpPr txBox="1"/>
            <p:nvPr/>
          </p:nvSpPr>
          <p:spPr>
            <a:xfrm rot="16200000">
              <a:off x="1740468" y="5850314"/>
              <a:ext cx="103167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>
                  <a:solidFill>
                    <a:srgbClr val="FFC000"/>
                  </a:solidFill>
                </a:rPr>
                <a:t>X28/30*1b-B</a:t>
              </a:r>
            </a:p>
          </p:txBody>
        </p:sp>
        <p:sp>
          <p:nvSpPr>
            <p:cNvPr id="95" name="Textfeld 94"/>
            <p:cNvSpPr txBox="1"/>
            <p:nvPr/>
          </p:nvSpPr>
          <p:spPr>
            <a:xfrm rot="16200000">
              <a:off x="1767934" y="4489579"/>
              <a:ext cx="103167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>
                  <a:solidFill>
                    <a:srgbClr val="92D050"/>
                  </a:solidFill>
                </a:rPr>
                <a:t>X28/30*1-B</a:t>
              </a:r>
            </a:p>
          </p:txBody>
        </p:sp>
      </p:grpSp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000" dirty="0" err="1" smtClean="0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1" name="Foliennummernplatzhalter 9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50" name="Titel 10"/>
          <p:cNvSpPr>
            <a:spLocks noGrp="1"/>
          </p:cNvSpPr>
          <p:nvPr>
            <p:ph type="title"/>
          </p:nvPr>
        </p:nvSpPr>
        <p:spPr>
          <a:xfrm>
            <a:off x="422870" y="376536"/>
            <a:ext cx="11406187" cy="1008360"/>
          </a:xfrm>
        </p:spPr>
        <p:txBody>
          <a:bodyPr/>
          <a:lstStyle/>
          <a:p>
            <a:r>
              <a:rPr lang="de-DE" sz="2400" dirty="0" smtClean="0">
                <a:solidFill>
                  <a:srgbClr val="000000"/>
                </a:solidFill>
              </a:rPr>
              <a:t>Methode für LS-übergreifende </a:t>
            </a:r>
            <a:r>
              <a:rPr lang="de-DE" sz="2400" dirty="0" err="1" smtClean="0">
                <a:solidFill>
                  <a:srgbClr val="000000"/>
                </a:solidFill>
              </a:rPr>
              <a:t>Merge</a:t>
            </a:r>
            <a:r>
              <a:rPr lang="de-DE" sz="2400" dirty="0" smtClean="0">
                <a:solidFill>
                  <a:srgbClr val="000000"/>
                </a:solidFill>
              </a:rPr>
              <a:t>-Funktion</a:t>
            </a:r>
            <a:br>
              <a:rPr lang="de-DE" sz="2400" dirty="0" smtClean="0">
                <a:solidFill>
                  <a:srgbClr val="000000"/>
                </a:solidFill>
              </a:rPr>
            </a:br>
            <a:r>
              <a:rPr lang="de-DE" sz="2000" dirty="0" smtClean="0">
                <a:solidFill>
                  <a:schemeClr val="accent4"/>
                </a:solidFill>
              </a:rPr>
              <a:t>Fall: Nichttriviale Trennstelle</a:t>
            </a:r>
            <a:endParaRPr lang="de-DE" sz="2800" dirty="0">
              <a:solidFill>
                <a:schemeClr val="accent4"/>
              </a:solidFill>
            </a:endParaRPr>
          </a:p>
        </p:txBody>
      </p:sp>
      <p:sp>
        <p:nvSpPr>
          <p:cNvPr id="84" name="Textfeld 83"/>
          <p:cNvSpPr txBox="1"/>
          <p:nvPr/>
        </p:nvSpPr>
        <p:spPr>
          <a:xfrm>
            <a:off x="479375" y="1454587"/>
            <a:ext cx="113286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u="sng" dirty="0" smtClean="0"/>
              <a:t>Wie würden die </a:t>
            </a:r>
            <a:r>
              <a:rPr lang="de-DE" sz="1600" u="sng" dirty="0" err="1" smtClean="0"/>
              <a:t>Pinning</a:t>
            </a:r>
            <a:r>
              <a:rPr lang="de-DE" sz="1600" u="sng" dirty="0" smtClean="0"/>
              <a:t>-Informationen als neutrale Trennstelle transportiert?</a:t>
            </a:r>
          </a:p>
          <a:p>
            <a:endParaRPr lang="de-DE" sz="1600" dirty="0" err="1"/>
          </a:p>
        </p:txBody>
      </p:sp>
      <p:sp>
        <p:nvSpPr>
          <p:cNvPr id="100" name="Rechteck 99"/>
          <p:cNvSpPr/>
          <p:nvPr/>
        </p:nvSpPr>
        <p:spPr>
          <a:xfrm>
            <a:off x="479375" y="3703130"/>
            <a:ext cx="1060450" cy="180020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489745" y="2666127"/>
            <a:ext cx="1060450" cy="865481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489745" y="5640925"/>
            <a:ext cx="1060450" cy="55118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2" name="Gruppieren 21"/>
          <p:cNvGrpSpPr/>
          <p:nvPr/>
        </p:nvGrpSpPr>
        <p:grpSpPr>
          <a:xfrm>
            <a:off x="3270436" y="2666743"/>
            <a:ext cx="1079071" cy="3445370"/>
            <a:chOff x="5629394" y="2683932"/>
            <a:chExt cx="1079071" cy="3445370"/>
          </a:xfrm>
        </p:grpSpPr>
        <p:sp>
          <p:nvSpPr>
            <p:cNvPr id="103" name="Rechteck 102"/>
            <p:cNvSpPr/>
            <p:nvPr/>
          </p:nvSpPr>
          <p:spPr>
            <a:xfrm>
              <a:off x="5629394" y="2683932"/>
              <a:ext cx="1042670" cy="3445370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Text Box 2"/>
            <p:cNvSpPr txBox="1">
              <a:spLocks noChangeArrowheads="1"/>
            </p:cNvSpPr>
            <p:nvPr/>
          </p:nvSpPr>
          <p:spPr bwMode="auto">
            <a:xfrm>
              <a:off x="5690312" y="4323467"/>
              <a:ext cx="1018153" cy="25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DE" sz="1200" b="1" dirty="0" smtClean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X28/30*1-B</a:t>
              </a:r>
              <a:endPara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20" name="Text Box 2"/>
          <p:cNvSpPr txBox="1">
            <a:spLocks noChangeArrowheads="1"/>
          </p:cNvSpPr>
          <p:nvPr/>
        </p:nvSpPr>
        <p:spPr bwMode="auto">
          <a:xfrm>
            <a:off x="543558" y="4466699"/>
            <a:ext cx="943930" cy="258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12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28/30*1-S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1" name="Text Box 2"/>
          <p:cNvSpPr txBox="1">
            <a:spLocks noChangeArrowheads="1"/>
          </p:cNvSpPr>
          <p:nvPr/>
        </p:nvSpPr>
        <p:spPr bwMode="auto">
          <a:xfrm>
            <a:off x="479376" y="2960621"/>
            <a:ext cx="1038323" cy="258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12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28/30*1a-S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2" name="Text Box 2"/>
          <p:cNvSpPr txBox="1">
            <a:spLocks noChangeArrowheads="1"/>
          </p:cNvSpPr>
          <p:nvPr/>
        </p:nvSpPr>
        <p:spPr bwMode="auto">
          <a:xfrm>
            <a:off x="505254" y="5796141"/>
            <a:ext cx="1078347" cy="24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2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28/30*1b-S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3" name="Text Box 2"/>
          <p:cNvSpPr txBox="1">
            <a:spLocks noChangeArrowheads="1"/>
          </p:cNvSpPr>
          <p:nvPr/>
        </p:nvSpPr>
        <p:spPr bwMode="auto">
          <a:xfrm>
            <a:off x="2415486" y="3717904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/8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4" name="Text Box 2"/>
          <p:cNvSpPr txBox="1">
            <a:spLocks noChangeArrowheads="1"/>
          </p:cNvSpPr>
          <p:nvPr/>
        </p:nvSpPr>
        <p:spPr bwMode="auto">
          <a:xfrm>
            <a:off x="2415485" y="3941181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/8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5" name="Text Box 2"/>
          <p:cNvSpPr txBox="1">
            <a:spLocks noChangeArrowheads="1"/>
          </p:cNvSpPr>
          <p:nvPr/>
        </p:nvSpPr>
        <p:spPr bwMode="auto">
          <a:xfrm>
            <a:off x="2415484" y="4154960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/8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6" name="Text Box 2"/>
          <p:cNvSpPr txBox="1">
            <a:spLocks noChangeArrowheads="1"/>
          </p:cNvSpPr>
          <p:nvPr/>
        </p:nvSpPr>
        <p:spPr bwMode="auto">
          <a:xfrm>
            <a:off x="2415194" y="4354101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/8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7" name="Text Box 2"/>
          <p:cNvSpPr txBox="1">
            <a:spLocks noChangeArrowheads="1"/>
          </p:cNvSpPr>
          <p:nvPr/>
        </p:nvSpPr>
        <p:spPr bwMode="auto">
          <a:xfrm>
            <a:off x="2412112" y="4573429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/8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8" name="Text Box 2"/>
          <p:cNvSpPr txBox="1">
            <a:spLocks noChangeArrowheads="1"/>
          </p:cNvSpPr>
          <p:nvPr/>
        </p:nvSpPr>
        <p:spPr bwMode="auto">
          <a:xfrm>
            <a:off x="2351584" y="4793459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/8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9" name="Text Box 2"/>
          <p:cNvSpPr txBox="1">
            <a:spLocks noChangeArrowheads="1"/>
          </p:cNvSpPr>
          <p:nvPr/>
        </p:nvSpPr>
        <p:spPr bwMode="auto">
          <a:xfrm>
            <a:off x="2351584" y="5008623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/8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0" name="Text Box 2"/>
          <p:cNvSpPr txBox="1">
            <a:spLocks noChangeArrowheads="1"/>
          </p:cNvSpPr>
          <p:nvPr/>
        </p:nvSpPr>
        <p:spPr bwMode="auto">
          <a:xfrm>
            <a:off x="2351584" y="5215972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/8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1" name="Text Box 2"/>
          <p:cNvSpPr txBox="1">
            <a:spLocks noChangeArrowheads="1"/>
          </p:cNvSpPr>
          <p:nvPr/>
        </p:nvSpPr>
        <p:spPr bwMode="auto">
          <a:xfrm>
            <a:off x="2538203" y="2651686"/>
            <a:ext cx="213875" cy="259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2" name="Text Box 2"/>
          <p:cNvSpPr txBox="1">
            <a:spLocks noChangeArrowheads="1"/>
          </p:cNvSpPr>
          <p:nvPr/>
        </p:nvSpPr>
        <p:spPr bwMode="auto">
          <a:xfrm>
            <a:off x="2536369" y="2859112"/>
            <a:ext cx="213876" cy="237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3" name="Text Box 2"/>
          <p:cNvSpPr txBox="1">
            <a:spLocks noChangeArrowheads="1"/>
          </p:cNvSpPr>
          <p:nvPr/>
        </p:nvSpPr>
        <p:spPr bwMode="auto">
          <a:xfrm>
            <a:off x="2534536" y="3057737"/>
            <a:ext cx="213877" cy="243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4" name="Text Box 2"/>
          <p:cNvSpPr txBox="1">
            <a:spLocks noChangeArrowheads="1"/>
          </p:cNvSpPr>
          <p:nvPr/>
        </p:nvSpPr>
        <p:spPr bwMode="auto">
          <a:xfrm>
            <a:off x="2532704" y="3270616"/>
            <a:ext cx="214167" cy="259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5" name="Text Box 2"/>
          <p:cNvSpPr txBox="1">
            <a:spLocks noChangeArrowheads="1"/>
          </p:cNvSpPr>
          <p:nvPr/>
        </p:nvSpPr>
        <p:spPr bwMode="auto">
          <a:xfrm>
            <a:off x="2356293" y="5626945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3/2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6" name="Text Box 2"/>
          <p:cNvSpPr txBox="1">
            <a:spLocks noChangeArrowheads="1"/>
          </p:cNvSpPr>
          <p:nvPr/>
        </p:nvSpPr>
        <p:spPr bwMode="auto">
          <a:xfrm>
            <a:off x="2356293" y="5834294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/2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7" name="Text Box 2"/>
          <p:cNvSpPr txBox="1">
            <a:spLocks noChangeArrowheads="1"/>
          </p:cNvSpPr>
          <p:nvPr/>
        </p:nvSpPr>
        <p:spPr bwMode="auto">
          <a:xfrm>
            <a:off x="4331687" y="3714959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8" name="Text Box 2"/>
          <p:cNvSpPr txBox="1">
            <a:spLocks noChangeArrowheads="1"/>
          </p:cNvSpPr>
          <p:nvPr/>
        </p:nvSpPr>
        <p:spPr bwMode="auto">
          <a:xfrm>
            <a:off x="4331686" y="3938236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9" name="Text Box 2"/>
          <p:cNvSpPr txBox="1">
            <a:spLocks noChangeArrowheads="1"/>
          </p:cNvSpPr>
          <p:nvPr/>
        </p:nvSpPr>
        <p:spPr bwMode="auto">
          <a:xfrm>
            <a:off x="4331685" y="4152015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0" name="Text Box 2"/>
          <p:cNvSpPr txBox="1">
            <a:spLocks noChangeArrowheads="1"/>
          </p:cNvSpPr>
          <p:nvPr/>
        </p:nvSpPr>
        <p:spPr bwMode="auto">
          <a:xfrm>
            <a:off x="4331395" y="4351156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1" name="Text Box 2"/>
          <p:cNvSpPr txBox="1">
            <a:spLocks noChangeArrowheads="1"/>
          </p:cNvSpPr>
          <p:nvPr/>
        </p:nvSpPr>
        <p:spPr bwMode="auto">
          <a:xfrm>
            <a:off x="4328313" y="4570484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2" name="Text Box 2"/>
          <p:cNvSpPr txBox="1">
            <a:spLocks noChangeArrowheads="1"/>
          </p:cNvSpPr>
          <p:nvPr/>
        </p:nvSpPr>
        <p:spPr bwMode="auto">
          <a:xfrm>
            <a:off x="4331687" y="4790514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3" name="Text Box 2"/>
          <p:cNvSpPr txBox="1">
            <a:spLocks noChangeArrowheads="1"/>
          </p:cNvSpPr>
          <p:nvPr/>
        </p:nvSpPr>
        <p:spPr bwMode="auto">
          <a:xfrm>
            <a:off x="4331687" y="5005678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4" name="Text Box 2"/>
          <p:cNvSpPr txBox="1">
            <a:spLocks noChangeArrowheads="1"/>
          </p:cNvSpPr>
          <p:nvPr/>
        </p:nvSpPr>
        <p:spPr bwMode="auto">
          <a:xfrm>
            <a:off x="4331687" y="5213027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5" name="Text Box 2"/>
          <p:cNvSpPr txBox="1">
            <a:spLocks noChangeArrowheads="1"/>
          </p:cNvSpPr>
          <p:nvPr/>
        </p:nvSpPr>
        <p:spPr bwMode="auto">
          <a:xfrm>
            <a:off x="4338375" y="2643115"/>
            <a:ext cx="213875" cy="259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6" name="Text Box 2"/>
          <p:cNvSpPr txBox="1">
            <a:spLocks noChangeArrowheads="1"/>
          </p:cNvSpPr>
          <p:nvPr/>
        </p:nvSpPr>
        <p:spPr bwMode="auto">
          <a:xfrm>
            <a:off x="4336541" y="2850541"/>
            <a:ext cx="213876" cy="237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7" name="Text Box 2"/>
          <p:cNvSpPr txBox="1">
            <a:spLocks noChangeArrowheads="1"/>
          </p:cNvSpPr>
          <p:nvPr/>
        </p:nvSpPr>
        <p:spPr bwMode="auto">
          <a:xfrm>
            <a:off x="4334708" y="3049166"/>
            <a:ext cx="213877" cy="243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8" name="Text Box 2"/>
          <p:cNvSpPr txBox="1">
            <a:spLocks noChangeArrowheads="1"/>
          </p:cNvSpPr>
          <p:nvPr/>
        </p:nvSpPr>
        <p:spPr bwMode="auto">
          <a:xfrm>
            <a:off x="4332876" y="3262045"/>
            <a:ext cx="214167" cy="259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9" name="Text Box 2"/>
          <p:cNvSpPr txBox="1">
            <a:spLocks noChangeArrowheads="1"/>
          </p:cNvSpPr>
          <p:nvPr/>
        </p:nvSpPr>
        <p:spPr bwMode="auto">
          <a:xfrm>
            <a:off x="4323061" y="5618374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3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0" name="Text Box 2"/>
          <p:cNvSpPr txBox="1">
            <a:spLocks noChangeArrowheads="1"/>
          </p:cNvSpPr>
          <p:nvPr/>
        </p:nvSpPr>
        <p:spPr bwMode="auto">
          <a:xfrm>
            <a:off x="4323061" y="5825723"/>
            <a:ext cx="548803" cy="243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1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04" name="Gerader Verbinder 103"/>
          <p:cNvCxnSpPr/>
          <p:nvPr/>
        </p:nvCxnSpPr>
        <p:spPr>
          <a:xfrm>
            <a:off x="2793571" y="3853349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05" name="Gerader Verbinder 104"/>
          <p:cNvCxnSpPr/>
          <p:nvPr/>
        </p:nvCxnSpPr>
        <p:spPr>
          <a:xfrm>
            <a:off x="2793571" y="4066074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06" name="Gerader Verbinder 105"/>
          <p:cNvCxnSpPr/>
          <p:nvPr/>
        </p:nvCxnSpPr>
        <p:spPr>
          <a:xfrm>
            <a:off x="2793571" y="4489429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07" name="Gerader Verbinder 106"/>
          <p:cNvCxnSpPr/>
          <p:nvPr/>
        </p:nvCxnSpPr>
        <p:spPr>
          <a:xfrm>
            <a:off x="2793571" y="4705453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08" name="Gerader Verbinder 107"/>
          <p:cNvCxnSpPr/>
          <p:nvPr/>
        </p:nvCxnSpPr>
        <p:spPr>
          <a:xfrm>
            <a:off x="2793571" y="4921477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09" name="Gerader Verbinder 108"/>
          <p:cNvCxnSpPr/>
          <p:nvPr/>
        </p:nvCxnSpPr>
        <p:spPr>
          <a:xfrm>
            <a:off x="2793571" y="5137501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10" name="Gerader Verbinder 109"/>
          <p:cNvCxnSpPr/>
          <p:nvPr/>
        </p:nvCxnSpPr>
        <p:spPr>
          <a:xfrm>
            <a:off x="2793571" y="4273405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13" name="Gerader Verbinder 112"/>
          <p:cNvCxnSpPr/>
          <p:nvPr/>
        </p:nvCxnSpPr>
        <p:spPr>
          <a:xfrm>
            <a:off x="2793571" y="5353525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14" name="Gerader Verbinder 113"/>
          <p:cNvCxnSpPr/>
          <p:nvPr/>
        </p:nvCxnSpPr>
        <p:spPr>
          <a:xfrm>
            <a:off x="2793571" y="2985729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15" name="Gerader Verbinder 114"/>
          <p:cNvCxnSpPr/>
          <p:nvPr/>
        </p:nvCxnSpPr>
        <p:spPr>
          <a:xfrm>
            <a:off x="2793571" y="3201753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16" name="Gerader Verbinder 115"/>
          <p:cNvCxnSpPr/>
          <p:nvPr/>
        </p:nvCxnSpPr>
        <p:spPr>
          <a:xfrm>
            <a:off x="2793571" y="3417777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17" name="Gerader Verbinder 116"/>
          <p:cNvCxnSpPr/>
          <p:nvPr/>
        </p:nvCxnSpPr>
        <p:spPr>
          <a:xfrm>
            <a:off x="2793571" y="5766262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18" name="Gerader Verbinder 117"/>
          <p:cNvCxnSpPr/>
          <p:nvPr/>
        </p:nvCxnSpPr>
        <p:spPr>
          <a:xfrm>
            <a:off x="2793571" y="2769705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19" name="Gerader Verbinder 118"/>
          <p:cNvCxnSpPr/>
          <p:nvPr/>
        </p:nvCxnSpPr>
        <p:spPr>
          <a:xfrm>
            <a:off x="2793571" y="5982286"/>
            <a:ext cx="1545359" cy="0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cxnSp>
        <p:nvCxnSpPr>
          <p:cNvPr id="18" name="Gerader Verbinder 17"/>
          <p:cNvCxnSpPr>
            <a:stCxn id="10" idx="0"/>
          </p:cNvCxnSpPr>
          <p:nvPr/>
        </p:nvCxnSpPr>
        <p:spPr>
          <a:xfrm flipV="1">
            <a:off x="4436528" y="2060848"/>
            <a:ext cx="795376" cy="5102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5289236" y="1919183"/>
            <a:ext cx="302433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dirty="0" err="1" smtClean="0"/>
              <a:t>Component_box_connector</a:t>
            </a:r>
            <a:endParaRPr lang="de-DE" sz="1600" dirty="0" smtClean="0"/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9777" y="2268170"/>
            <a:ext cx="3999323" cy="3822523"/>
          </a:xfrm>
          <a:prstGeom prst="rect">
            <a:avLst/>
          </a:prstGeom>
        </p:spPr>
      </p:pic>
      <p:sp>
        <p:nvSpPr>
          <p:cNvPr id="24" name="Textfeld 23"/>
          <p:cNvSpPr txBox="1"/>
          <p:nvPr/>
        </p:nvSpPr>
        <p:spPr>
          <a:xfrm>
            <a:off x="8400256" y="1772816"/>
            <a:ext cx="3433565" cy="4308872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000" b="1" dirty="0" smtClean="0"/>
              <a:t>Schritte für E3.HarnessAnalyzer</a:t>
            </a:r>
          </a:p>
          <a:p>
            <a:endParaRPr lang="de-D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 smtClean="0"/>
              <a:t>Identifizieren der </a:t>
            </a:r>
            <a:r>
              <a:rPr lang="de-DE" sz="2000" dirty="0" err="1" smtClean="0"/>
              <a:t>Trennstellen.kbl</a:t>
            </a:r>
            <a:r>
              <a:rPr lang="de-DE" sz="2000" dirty="0" smtClean="0"/>
              <a:t> in der </a:t>
            </a:r>
            <a:r>
              <a:rPr lang="de-DE" sz="2000" dirty="0" err="1" smtClean="0"/>
              <a:t>xHCV</a:t>
            </a:r>
            <a:endParaRPr lang="de-DE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 smtClean="0"/>
              <a:t>Trennstellen-Logik von trivialen Trennstellen auf </a:t>
            </a:r>
            <a:r>
              <a:rPr lang="de-DE" sz="2000" dirty="0" err="1" smtClean="0"/>
              <a:t>Component_box</a:t>
            </a:r>
            <a:r>
              <a:rPr lang="de-DE" sz="2000" dirty="0"/>
              <a:t> </a:t>
            </a:r>
            <a:r>
              <a:rPr lang="de-DE" sz="2000" dirty="0" smtClean="0"/>
              <a:t>übertra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 smtClean="0"/>
              <a:t>Priorität der Trennstellen-Logik auf </a:t>
            </a:r>
            <a:r>
              <a:rPr lang="de-DE" sz="2000" dirty="0" err="1" smtClean="0"/>
              <a:t>Component_box_connector</a:t>
            </a:r>
            <a:r>
              <a:rPr lang="de-DE" sz="2000" dirty="0" smtClean="0"/>
              <a:t> &lt;-&gt; </a:t>
            </a:r>
            <a:r>
              <a:rPr lang="de-DE" sz="2000" dirty="0" err="1" smtClean="0"/>
              <a:t>Connector_housing</a:t>
            </a: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val="2908908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758 -0.00255 L 0.21107 0.00046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674" y="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100" grpId="0" animBg="1"/>
      <p:bldP spid="101" grpId="0" animBg="1"/>
      <p:bldP spid="102" grpId="0" animBg="1"/>
      <p:bldP spid="120" grpId="0"/>
      <p:bldP spid="121" grpId="0"/>
      <p:bldP spid="122" grpId="0"/>
      <p:bldP spid="123" grpId="0"/>
      <p:bldP spid="124" grpId="0"/>
      <p:bldP spid="125" grpId="0"/>
      <p:bldP spid="126" grpId="0"/>
      <p:bldP spid="127" grpId="0"/>
      <p:bldP spid="128" grpId="0"/>
      <p:bldP spid="129" grpId="0"/>
      <p:bldP spid="130" grpId="0"/>
      <p:bldP spid="131" grpId="0"/>
      <p:bldP spid="132" grpId="0"/>
      <p:bldP spid="133" grpId="0"/>
      <p:bldP spid="134" grpId="0"/>
      <p:bldP spid="135" grpId="0"/>
      <p:bldP spid="136" grpId="0"/>
      <p:bldP spid="137" grpId="0"/>
      <p:bldP spid="138" grpId="0"/>
      <p:bldP spid="139" grpId="0"/>
      <p:bldP spid="140" grpId="0"/>
      <p:bldP spid="141" grpId="0"/>
      <p:bldP spid="142" grpId="0"/>
      <p:bldP spid="143" grpId="0"/>
      <p:bldP spid="144" grpId="0"/>
      <p:bldP spid="145" grpId="0"/>
      <p:bldP spid="146" grpId="0"/>
      <p:bldP spid="147" grpId="0"/>
      <p:bldP spid="148" grpId="0"/>
      <p:bldP spid="149" grpId="0"/>
      <p:bldP spid="150" grpId="0"/>
      <p:bldP spid="19" grpId="0"/>
      <p:bldP spid="2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mkQAzPTN6E8bpXO95G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mkQAzPTN6E8bpXO95G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mkQAzPTN6E8bpXO95G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Benz_Deutsch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3.xml><?xml version="1.0" encoding="utf-8"?>
<a:theme xmlns:a="http://schemas.openxmlformats.org/drawingml/2006/main" name="Daimler AG">
  <a:themeElements>
    <a:clrScheme name="Daimler AG">
      <a:dk1>
        <a:srgbClr val="000000"/>
      </a:dk1>
      <a:lt1>
        <a:srgbClr val="FFFFFF"/>
      </a:lt1>
      <a:dk2>
        <a:srgbClr val="263F6A"/>
      </a:dk2>
      <a:lt2>
        <a:srgbClr val="3F9AC9"/>
      </a:lt2>
      <a:accent1>
        <a:srgbClr val="D2D4D6"/>
      </a:accent1>
      <a:accent2>
        <a:srgbClr val="8D8F92"/>
      </a:accent2>
      <a:accent3>
        <a:srgbClr val="FFFFFF"/>
      </a:accent3>
      <a:accent4>
        <a:srgbClr val="000000"/>
      </a:accent4>
      <a:accent5>
        <a:srgbClr val="D7D5C6"/>
      </a:accent5>
      <a:accent6>
        <a:srgbClr val="959289"/>
      </a:accent6>
      <a:hlink>
        <a:srgbClr val="AFB2B4"/>
      </a:hlink>
      <a:folHlink>
        <a:srgbClr val="DFE0E2"/>
      </a:folHlink>
    </a:clrScheme>
    <a:fontScheme name="Daimler AG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Daimler AG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oS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oS" pitchFamily="2" charset="0"/>
          </a:defRPr>
        </a:defPPr>
      </a:lstStyle>
    </a:lnDef>
  </a:objectDefaults>
  <a:extraClrSchemeLst/>
  <a:custClrLst>
    <a:custClr name="Daimler Blue">
      <a:srgbClr val="263F6A"/>
    </a:custClr>
    <a:custClr name="Oxford Red">
      <a:srgbClr val="6B0F24"/>
    </a:custClr>
    <a:custClr name="Deep Green">
      <a:srgbClr val="193725"/>
    </a:custClr>
    <a:custClr name="Noble Gray">
      <a:srgbClr val="606061"/>
    </a:custClr>
    <a:custClr name="Lucent Blue">
      <a:srgbClr val="3F9AC9"/>
    </a:custClr>
    <a:custClr name="Lucent Blue + 30 K">
      <a:srgbClr val="2C6B8C"/>
    </a:custClr>
    <a:custClr name="Lucent Blue 70%">
      <a:srgbClr val="78B8D9"/>
    </a:custClr>
    <a:custClr name="Lucent Blue 30%">
      <a:srgbClr val="C5E1EF"/>
    </a:custClr>
    <a:custClr name="Intensive Mauve">
      <a:srgbClr val="AF0837"/>
    </a:custClr>
    <a:custClr name="Intensive Mauve + 30 K">
      <a:srgbClr val="7A0626"/>
    </a:custClr>
    <a:custClr name="Intensive Mauve 70%">
      <a:srgbClr val="C04B5D"/>
    </a:custClr>
    <a:custClr name="Intensive Mauve 30%">
      <a:srgbClr val="DDABB3"/>
    </a:custClr>
    <a:custClr name="Fresh Green">
      <a:srgbClr val="BECD1A"/>
    </a:custClr>
    <a:custClr name="Fresh Green + 30 K">
      <a:srgbClr val="858F12"/>
    </a:custClr>
    <a:custClr name="Fresh Green 70%">
      <a:srgbClr val="D1DC5E"/>
    </a:custClr>
    <a:custClr name="Fresh Green 30%">
      <a:srgbClr val="EBF0BA"/>
    </a:custClr>
    <a:custClr name="Bright Yellow">
      <a:srgbClr val="E3B949"/>
    </a:custClr>
    <a:custClr name="Bright Yellow + 30 K">
      <a:srgbClr val="9E8133"/>
    </a:custClr>
    <a:custClr name="Bright Yellow 70%">
      <a:srgbClr val="EBCE7F"/>
    </a:custClr>
    <a:custClr name="Bright Yellow 30%">
      <a:srgbClr val="F7EAC8"/>
    </a:custClr>
    <a:custClr name="Platinum">
      <a:srgbClr val="D7D5C6"/>
    </a:custClr>
    <a:custClr name="Platinum + 30 K">
      <a:srgbClr val="959289"/>
    </a:custClr>
    <a:custClr name="Platinum 70%">
      <a:srgbClr val="E4E2D5"/>
    </a:custClr>
    <a:custClr name="Platinum 30%">
      <a:srgbClr val="F2F1EC"/>
    </a:custClr>
    <a:custClr name="Titanium">
      <a:srgbClr val="D2D4D6"/>
    </a:custClr>
    <a:custClr name="Titanium + 30 K">
      <a:srgbClr val="8D8F92"/>
    </a:custClr>
    <a:custClr name="Titanium 70%">
      <a:srgbClr val="DFE0E2"/>
    </a:custClr>
    <a:custClr name="Titanium 30%">
      <a:srgbClr val="F0F1F2"/>
    </a:custClr>
  </a:custClrLst>
</a:theme>
</file>

<file path=ppt/theme/theme4.xml><?xml version="1.0" encoding="utf-8"?>
<a:theme xmlns:a="http://schemas.openxmlformats.org/drawingml/2006/main" name="1_MercedesBenz_Deutsch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5.xml><?xml version="1.0" encoding="utf-8"?>
<a:theme xmlns:a="http://schemas.openxmlformats.org/drawingml/2006/main" name="2_MercedesBenz_Deutsch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_MercedesBenz_Deutsch</Template>
  <TotalTime>0</TotalTime>
  <Words>246</Words>
  <Application>Microsoft Office PowerPoint</Application>
  <PresentationFormat>Breitbild</PresentationFormat>
  <Paragraphs>138</Paragraphs>
  <Slides>4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8" baseType="lpstr">
      <vt:lpstr>Calibri</vt:lpstr>
      <vt:lpstr>Symbol</vt:lpstr>
      <vt:lpstr>CorpoS</vt:lpstr>
      <vt:lpstr>Times New Roman</vt:lpstr>
      <vt:lpstr>Arial</vt:lpstr>
      <vt:lpstr>Webdings</vt:lpstr>
      <vt:lpstr>CorpoA</vt:lpstr>
      <vt:lpstr>Wingdings</vt:lpstr>
      <vt:lpstr>MercedesBenz_Deutsch</vt:lpstr>
      <vt:lpstr>Mercedes-Benz black</vt:lpstr>
      <vt:lpstr>Daimler AG</vt:lpstr>
      <vt:lpstr>1_MercedesBenz_Deutsch</vt:lpstr>
      <vt:lpstr>2_MercedesBenz_Deutsch</vt:lpstr>
      <vt:lpstr>think-cell Folie</vt:lpstr>
      <vt:lpstr>Trennstellenkontaktierung</vt:lpstr>
      <vt:lpstr>Unterscheidung der folgenden 2 Fälle zu Trennstellen:</vt:lpstr>
      <vt:lpstr>Methode für LS-übergreifende Merge-Funktion Fall: Nichttriviale Trennstelle</vt:lpstr>
      <vt:lpstr>Methode für LS-übergreifende Merge-Funktion Fall: Nichttriviale Trennstelle</vt:lpstr>
    </vt:vector>
  </TitlesOfParts>
  <Company>Daimler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Twin für den Leitungssatz</dc:title>
  <dc:creator>Tharma, Rajeeth (059)</dc:creator>
  <cp:lastModifiedBy>Neckenich, Jonas (059)</cp:lastModifiedBy>
  <cp:revision>301</cp:revision>
  <cp:lastPrinted>2015-12-08T19:05:36Z</cp:lastPrinted>
  <dcterms:created xsi:type="dcterms:W3CDTF">2017-05-17T06:51:00Z</dcterms:created>
  <dcterms:modified xsi:type="dcterms:W3CDTF">2019-01-25T05:46:05Z</dcterms:modified>
</cp:coreProperties>
</file>